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713" r:id="rId5"/>
  </p:sldMasterIdLst>
  <p:notesMasterIdLst>
    <p:notesMasterId r:id="rId51"/>
  </p:notesMasterIdLst>
  <p:sldIdLst>
    <p:sldId id="5583" r:id="rId6"/>
    <p:sldId id="5584" r:id="rId7"/>
    <p:sldId id="5585" r:id="rId8"/>
    <p:sldId id="5586" r:id="rId9"/>
    <p:sldId id="5587" r:id="rId10"/>
    <p:sldId id="5588" r:id="rId11"/>
    <p:sldId id="5589" r:id="rId12"/>
    <p:sldId id="5590" r:id="rId13"/>
    <p:sldId id="5591" r:id="rId14"/>
    <p:sldId id="5592" r:id="rId15"/>
    <p:sldId id="5593" r:id="rId16"/>
    <p:sldId id="5594" r:id="rId17"/>
    <p:sldId id="5595" r:id="rId18"/>
    <p:sldId id="5596" r:id="rId19"/>
    <p:sldId id="5597" r:id="rId20"/>
    <p:sldId id="5598" r:id="rId21"/>
    <p:sldId id="5599" r:id="rId22"/>
    <p:sldId id="5600" r:id="rId23"/>
    <p:sldId id="5601" r:id="rId24"/>
    <p:sldId id="5602" r:id="rId25"/>
    <p:sldId id="5603" r:id="rId26"/>
    <p:sldId id="5604" r:id="rId27"/>
    <p:sldId id="5605" r:id="rId28"/>
    <p:sldId id="335" r:id="rId29"/>
    <p:sldId id="326" r:id="rId30"/>
    <p:sldId id="5579" r:id="rId31"/>
    <p:sldId id="5578" r:id="rId32"/>
    <p:sldId id="5623" r:id="rId33"/>
    <p:sldId id="5606" r:id="rId34"/>
    <p:sldId id="5607" r:id="rId35"/>
    <p:sldId id="5608" r:id="rId36"/>
    <p:sldId id="5609" r:id="rId37"/>
    <p:sldId id="5610" r:id="rId38"/>
    <p:sldId id="5611" r:id="rId39"/>
    <p:sldId id="5612" r:id="rId40"/>
    <p:sldId id="5613" r:id="rId41"/>
    <p:sldId id="5614" r:id="rId42"/>
    <p:sldId id="5615" r:id="rId43"/>
    <p:sldId id="5616" r:id="rId44"/>
    <p:sldId id="5617" r:id="rId45"/>
    <p:sldId id="5618" r:id="rId46"/>
    <p:sldId id="5619" r:id="rId47"/>
    <p:sldId id="5620" r:id="rId48"/>
    <p:sldId id="5621" r:id="rId49"/>
    <p:sldId id="5622" r:id="rId5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 presentatie" id="{4CB0DD6D-F82D-A349-9E0A-2BF350B67AD0}">
          <p14:sldIdLst/>
        </p14:section>
        <p14:section name="Content slides" id="{8BD12C57-C02D-1F4E-A308-AD927A1A1EA2}">
          <p14:sldIdLst>
            <p14:sldId id="5583"/>
            <p14:sldId id="5584"/>
            <p14:sldId id="5585"/>
            <p14:sldId id="5586"/>
            <p14:sldId id="5587"/>
            <p14:sldId id="5588"/>
            <p14:sldId id="5589"/>
            <p14:sldId id="5590"/>
            <p14:sldId id="5591"/>
            <p14:sldId id="5592"/>
            <p14:sldId id="5593"/>
            <p14:sldId id="5594"/>
            <p14:sldId id="5595"/>
            <p14:sldId id="5596"/>
            <p14:sldId id="5597"/>
            <p14:sldId id="5598"/>
            <p14:sldId id="5599"/>
            <p14:sldId id="5600"/>
            <p14:sldId id="5601"/>
            <p14:sldId id="5602"/>
            <p14:sldId id="5603"/>
            <p14:sldId id="5604"/>
            <p14:sldId id="5605"/>
            <p14:sldId id="335"/>
            <p14:sldId id="326"/>
            <p14:sldId id="5579"/>
            <p14:sldId id="5578"/>
            <p14:sldId id="5623"/>
            <p14:sldId id="5606"/>
            <p14:sldId id="5607"/>
            <p14:sldId id="5608"/>
            <p14:sldId id="5609"/>
            <p14:sldId id="5610"/>
            <p14:sldId id="5611"/>
            <p14:sldId id="5612"/>
            <p14:sldId id="5613"/>
            <p14:sldId id="5614"/>
            <p14:sldId id="5615"/>
            <p14:sldId id="5616"/>
            <p14:sldId id="5617"/>
            <p14:sldId id="5618"/>
            <p14:sldId id="5619"/>
            <p14:sldId id="5620"/>
            <p14:sldId id="5621"/>
            <p14:sldId id="5622"/>
          </p14:sldIdLst>
        </p14:section>
        <p14:section name="Grafieken &amp; tabellen" id="{A6CF1D8D-F04E-674C-9444-C77914AC009E}">
          <p14:sldIdLst/>
        </p14:section>
        <p14:section name="Kleuren" id="{954181B9-78AD-C14E-8608-C9E53C74F85A}">
          <p14:sldIdLst/>
        </p14:section>
        <p14:section name="Stijlelementen" id="{406CD46E-E6DC-CB4F-803C-AC446DC9DBC4}">
          <p14:sldIdLst/>
        </p14:section>
        <p14:section name="Einde presentatie" id="{1CB0FE30-F2C0-A148-A6D0-B876BC38F1FF}">
          <p14:sldIdLst/>
        </p14:section>
        <p14:section name="Visuele slides" id="{D6E17930-3AFC-C74F-82EF-B0050C3403D7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86117"/>
    <a:srgbClr val="E2F8A1"/>
    <a:srgbClr val="171A61"/>
    <a:srgbClr val="F8EAA1"/>
    <a:srgbClr val="EB7C05"/>
    <a:srgbClr val="FFFFFF"/>
    <a:srgbClr val="A1D3F8"/>
    <a:srgbClr val="FF8200"/>
    <a:srgbClr val="666666"/>
    <a:srgbClr val="691D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–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Medium Style 3 –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–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–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edium Style 1 –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A111915-BE36-4E01-A7E5-04B1672EAD32}" styleName="Light Style 2 –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35758FB7-9AC5-4552-8A53-C91805E547FA}" styleName="Themed Style 1 –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–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–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86232"/>
  </p:normalViewPr>
  <p:slideViewPr>
    <p:cSldViewPr snapToGrid="0">
      <p:cViewPr varScale="1">
        <p:scale>
          <a:sx n="96" d="100"/>
          <a:sy n="96" d="100"/>
        </p:scale>
        <p:origin x="111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microsoft.com/office/2016/11/relationships/changesInfo" Target="changesInfos/changesInfo1.xml"/><Relationship Id="rId8" Type="http://schemas.openxmlformats.org/officeDocument/2006/relationships/slide" Target="slides/slide3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er Seton" userId="988c75c7-0d56-41b6-9325-dcd0080a5801" providerId="ADAL" clId="{6FF1F5DB-7482-4585-9766-4AC8443A2221}"/>
    <pc:docChg chg="modSld">
      <pc:chgData name="Sander Seton" userId="988c75c7-0d56-41b6-9325-dcd0080a5801" providerId="ADAL" clId="{6FF1F5DB-7482-4585-9766-4AC8443A2221}" dt="2024-10-14T14:15:50.572" v="10" actId="20577"/>
      <pc:docMkLst>
        <pc:docMk/>
      </pc:docMkLst>
      <pc:sldChg chg="modSp mod">
        <pc:chgData name="Sander Seton" userId="988c75c7-0d56-41b6-9325-dcd0080a5801" providerId="ADAL" clId="{6FF1F5DB-7482-4585-9766-4AC8443A2221}" dt="2024-10-14T14:15:50.572" v="10" actId="20577"/>
        <pc:sldMkLst>
          <pc:docMk/>
          <pc:sldMk cId="4181265886" sldId="5588"/>
        </pc:sldMkLst>
        <pc:spChg chg="mod">
          <ac:chgData name="Sander Seton" userId="988c75c7-0d56-41b6-9325-dcd0080a5801" providerId="ADAL" clId="{6FF1F5DB-7482-4585-9766-4AC8443A2221}" dt="2024-10-14T14:15:50.572" v="10" actId="20577"/>
          <ac:spMkLst>
            <pc:docMk/>
            <pc:sldMk cId="4181265886" sldId="5588"/>
            <ac:spMk id="3" creationId="{8547DF82-BBC4-2DD5-BDF3-8546FFF3187E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loud</c:v>
                </c:pt>
                <c:pt idx="1">
                  <c:v>IT Consultancy</c:v>
                </c:pt>
                <c:pt idx="2">
                  <c:v>Connectivity</c:v>
                </c:pt>
                <c:pt idx="3">
                  <c:v>Critical alarming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EB-E646-A173-09871E0FA22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loud</c:v>
                </c:pt>
                <c:pt idx="1">
                  <c:v>IT Consultancy</c:v>
                </c:pt>
                <c:pt idx="2">
                  <c:v>Connectivity</c:v>
                </c:pt>
                <c:pt idx="3">
                  <c:v>Critical alarming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EB-E646-A173-09871E0FA2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178366959"/>
        <c:axId val="1178360719"/>
      </c:barChart>
      <c:catAx>
        <c:axId val="11783669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spc="60" baseline="0">
                <a:solidFill>
                  <a:schemeClr val="tx1"/>
                </a:solidFill>
                <a:latin typeface="Archivo Medium" pitchFamily="2" charset="77"/>
                <a:ea typeface="+mn-ea"/>
                <a:cs typeface="Archivo Medium" pitchFamily="2" charset="77"/>
              </a:defRPr>
            </a:pPr>
            <a:endParaRPr lang="nl-NL"/>
          </a:p>
        </c:txPr>
        <c:crossAx val="1178360719"/>
        <c:crosses val="autoZero"/>
        <c:auto val="1"/>
        <c:lblAlgn val="ctr"/>
        <c:lblOffset val="100"/>
        <c:noMultiLvlLbl val="0"/>
      </c:catAx>
      <c:valAx>
        <c:axId val="117836071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chivo" pitchFamily="2" charset="77"/>
                <a:ea typeface="+mn-ea"/>
                <a:cs typeface="Archivo" pitchFamily="2" charset="77"/>
              </a:defRPr>
            </a:pPr>
            <a:endParaRPr lang="nl-NL"/>
          </a:p>
        </c:txPr>
        <c:crossAx val="11783669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rchivo" pitchFamily="2" charset="77"/>
              <a:ea typeface="+mn-ea"/>
              <a:cs typeface="Archivo" pitchFamily="2" charset="77"/>
            </a:defRPr>
          </a:pPr>
          <a:endParaRPr lang="nl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1C67E7-6F47-5142-8580-1B9AFEC7F49C}" type="datetimeFigureOut">
              <a:rPr lang="en-NL" smtClean="0"/>
              <a:t>10/14/2024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C63D97-B69F-7A40-A271-8F5137FEEA7D}" type="slidenum">
              <a:rPr lang="en-NL" smtClean="0"/>
              <a:t>‹nr.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852373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75889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err="1"/>
              <a:t>https</a:t>
            </a:r>
            <a:r>
              <a:rPr lang="nl-NL"/>
              <a:t>://</a:t>
            </a:r>
            <a:r>
              <a:rPr lang="nl-NL" err="1"/>
              <a:t>detron.sharepoint.com</a:t>
            </a:r>
            <a:r>
              <a:rPr lang="nl-NL"/>
              <a:t>/:x:/s/Saleskick-off/EWL5sGmMVuVIhIh0ApKMREUBdsB3cGsHm4lczv_VEU--3A?e=</a:t>
            </a:r>
            <a:r>
              <a:rPr lang="nl-NL" err="1"/>
              <a:t>pwgYns</a:t>
            </a:r>
            <a:endParaRPr lang="nl-NL"/>
          </a:p>
          <a:p>
            <a:endParaRPr lang="nl-NL"/>
          </a:p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20924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00836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13213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84937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77810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35909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9076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16441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b="0" i="0" u="none" strike="noStrike">
                <a:solidFill>
                  <a:srgbClr val="1F1F1F"/>
                </a:solidFill>
                <a:effectLst/>
                <a:latin typeface="Google Sans"/>
              </a:rPr>
              <a:t>ESG afkorting staat voor </a:t>
            </a:r>
            <a:r>
              <a:rPr lang="nl-NL" b="0" i="0" u="none" strike="noStrike" err="1">
                <a:solidFill>
                  <a:srgbClr val="1F1F1F"/>
                </a:solidFill>
                <a:effectLst/>
                <a:latin typeface="Google Sans"/>
              </a:rPr>
              <a:t>Environmental</a:t>
            </a:r>
            <a:r>
              <a:rPr lang="nl-NL" b="0" i="0" u="none" strike="noStrike">
                <a:solidFill>
                  <a:srgbClr val="1F1F1F"/>
                </a:solidFill>
                <a:effectLst/>
                <a:latin typeface="Google Sans"/>
              </a:rPr>
              <a:t>, </a:t>
            </a:r>
            <a:r>
              <a:rPr lang="nl-NL" b="0" i="0" u="none" strike="noStrike" err="1">
                <a:solidFill>
                  <a:srgbClr val="1F1F1F"/>
                </a:solidFill>
                <a:effectLst/>
                <a:latin typeface="Google Sans"/>
              </a:rPr>
              <a:t>Social</a:t>
            </a:r>
            <a:r>
              <a:rPr lang="nl-NL" b="0" i="0" u="none" strike="noStrike">
                <a:solidFill>
                  <a:srgbClr val="1F1F1F"/>
                </a:solidFill>
                <a:effectLst/>
                <a:latin typeface="Google Sans"/>
              </a:rPr>
              <a:t> &amp; </a:t>
            </a:r>
            <a:r>
              <a:rPr lang="nl-NL" b="0" i="0" u="none" strike="noStrike" err="1">
                <a:solidFill>
                  <a:srgbClr val="1F1F1F"/>
                </a:solidFill>
                <a:effectLst/>
                <a:latin typeface="Google Sans"/>
              </a:rPr>
              <a:t>Governance</a:t>
            </a:r>
            <a:r>
              <a:rPr lang="nl-NL" b="0" i="0" u="none" strike="noStrike">
                <a:solidFill>
                  <a:srgbClr val="1F1F1F"/>
                </a:solidFill>
                <a:effectLst/>
                <a:latin typeface="Google Sans"/>
              </a:rPr>
              <a:t>. </a:t>
            </a:r>
          </a:p>
          <a:p>
            <a:r>
              <a:rPr lang="nl-NL" b="0" i="0" u="none" strike="noStrike">
                <a:solidFill>
                  <a:srgbClr val="1F1F1F"/>
                </a:solidFill>
                <a:effectLst/>
                <a:latin typeface="Google Sans"/>
              </a:rPr>
              <a:t>Het houdt in dat factoren als energieverbruik, klimaat, beschikbaarheid van grondstoffen, gezondheid, veiligheid en goed ondernemingsbestuur worden meegewogen bij de selectie en het beheer van deelnemingen in bedrijven.</a:t>
            </a:r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351185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5412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9622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86317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L"/>
              <a:t>Iets aan do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32642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517945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55574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05186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64074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00994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0142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38144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90098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C63D97-B69F-7A40-A271-8F5137FEEA7D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795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22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kant - Ora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375E580F-5AD3-E543-7B1A-0F636A2FC5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61242" y="0"/>
            <a:ext cx="4230757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rIns="360000" bIns="360000" anchor="b"/>
          <a:lstStyle>
            <a:lvl1pPr marL="0" indent="0" algn="r">
              <a:buNone/>
              <a:defRPr sz="1200" b="0" i="0" kern="100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nl-NL"/>
              <a:t>Klik om afbeelding</a:t>
            </a:r>
            <a:br>
              <a:rPr lang="en-NL"/>
            </a:br>
            <a:r>
              <a:rPr lang="en-NL"/>
              <a:t>toe te voegen</a:t>
            </a:r>
            <a:endParaRPr lang="nl-NL"/>
          </a:p>
        </p:txBody>
      </p:sp>
      <p:sp>
        <p:nvSpPr>
          <p:cNvPr id="34" name="Shape">
            <a:extLst>
              <a:ext uri="{FF2B5EF4-FFF2-40B4-BE49-F238E27FC236}">
                <a16:creationId xmlns:a16="http://schemas.microsoft.com/office/drawing/2014/main" id="{D8CDA9A5-8E5B-32F6-01D9-008A4A3D5CD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  <a:moveTo>
                  <a:pt x="16026" y="400"/>
                </a:moveTo>
                <a:lnTo>
                  <a:pt x="21117" y="400"/>
                </a:lnTo>
                <a:cubicBezTo>
                  <a:pt x="21155" y="400"/>
                  <a:pt x="21185" y="400"/>
                  <a:pt x="21210" y="402"/>
                </a:cubicBezTo>
                <a:cubicBezTo>
                  <a:pt x="21234" y="405"/>
                  <a:pt x="21253" y="411"/>
                  <a:pt x="21268" y="422"/>
                </a:cubicBezTo>
                <a:cubicBezTo>
                  <a:pt x="21290" y="437"/>
                  <a:pt x="21310" y="459"/>
                  <a:pt x="21326" y="488"/>
                </a:cubicBezTo>
                <a:cubicBezTo>
                  <a:pt x="21342" y="516"/>
                  <a:pt x="21354" y="551"/>
                  <a:pt x="21362" y="589"/>
                </a:cubicBezTo>
                <a:cubicBezTo>
                  <a:pt x="21369" y="616"/>
                  <a:pt x="21372" y="650"/>
                  <a:pt x="21374" y="694"/>
                </a:cubicBezTo>
                <a:cubicBezTo>
                  <a:pt x="21375" y="737"/>
                  <a:pt x="21375" y="791"/>
                  <a:pt x="21375" y="859"/>
                </a:cubicBezTo>
                <a:lnTo>
                  <a:pt x="21375" y="20741"/>
                </a:lnTo>
                <a:cubicBezTo>
                  <a:pt x="21375" y="20809"/>
                  <a:pt x="21375" y="20863"/>
                  <a:pt x="21374" y="20906"/>
                </a:cubicBezTo>
                <a:cubicBezTo>
                  <a:pt x="21372" y="20950"/>
                  <a:pt x="21369" y="20984"/>
                  <a:pt x="21362" y="21011"/>
                </a:cubicBezTo>
                <a:cubicBezTo>
                  <a:pt x="21354" y="21049"/>
                  <a:pt x="21342" y="21084"/>
                  <a:pt x="21326" y="21112"/>
                </a:cubicBezTo>
                <a:cubicBezTo>
                  <a:pt x="21310" y="21141"/>
                  <a:pt x="21290" y="21163"/>
                  <a:pt x="21268" y="21178"/>
                </a:cubicBezTo>
                <a:cubicBezTo>
                  <a:pt x="21253" y="21189"/>
                  <a:pt x="21234" y="21195"/>
                  <a:pt x="21210" y="21198"/>
                </a:cubicBezTo>
                <a:cubicBezTo>
                  <a:pt x="21185" y="21200"/>
                  <a:pt x="21155" y="21200"/>
                  <a:pt x="21117" y="21200"/>
                </a:cubicBezTo>
                <a:lnTo>
                  <a:pt x="14935" y="21200"/>
                </a:lnTo>
                <a:lnTo>
                  <a:pt x="14359" y="16154"/>
                </a:lnTo>
                <a:cubicBezTo>
                  <a:pt x="15183" y="14487"/>
                  <a:pt x="15816" y="12506"/>
                  <a:pt x="16194" y="10311"/>
                </a:cubicBezTo>
                <a:cubicBezTo>
                  <a:pt x="16752" y="7064"/>
                  <a:pt x="16693" y="3581"/>
                  <a:pt x="16026" y="400"/>
                </a:cubicBezTo>
                <a:close/>
              </a:path>
            </a:pathLst>
          </a:custGeom>
          <a:solidFill>
            <a:schemeClr val="bg2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90000"/>
              </a:lnSpc>
              <a:defRPr sz="4000" b="1">
                <a:solidFill>
                  <a:schemeClr val="accent6"/>
                </a:solidFill>
                <a:latin typeface="+mn-lt"/>
                <a:ea typeface="+mn-ea"/>
                <a:cs typeface="+mn-cs"/>
                <a:sym typeface="BricolageGrotesque-96ptExtraBold_Bold"/>
              </a:defRPr>
            </a:pPr>
            <a:endParaRPr/>
          </a:p>
        </p:txBody>
      </p:sp>
      <p:sp>
        <p:nvSpPr>
          <p:cNvPr id="35" name="Shape">
            <a:extLst>
              <a:ext uri="{FF2B5EF4-FFF2-40B4-BE49-F238E27FC236}">
                <a16:creationId xmlns:a16="http://schemas.microsoft.com/office/drawing/2014/main" id="{8353F255-649E-967B-F928-E4182EB432E1}"/>
              </a:ext>
            </a:extLst>
          </p:cNvPr>
          <p:cNvSpPr/>
          <p:nvPr userDrawn="1"/>
        </p:nvSpPr>
        <p:spPr>
          <a:xfrm>
            <a:off x="127000" y="127000"/>
            <a:ext cx="9013431" cy="66024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349" y="0"/>
                </a:moveTo>
                <a:cubicBezTo>
                  <a:pt x="298" y="0"/>
                  <a:pt x="256" y="0"/>
                  <a:pt x="223" y="3"/>
                </a:cubicBezTo>
                <a:cubicBezTo>
                  <a:pt x="190" y="6"/>
                  <a:pt x="165" y="12"/>
                  <a:pt x="144" y="24"/>
                </a:cubicBezTo>
                <a:cubicBezTo>
                  <a:pt x="115" y="38"/>
                  <a:pt x="88" y="62"/>
                  <a:pt x="67" y="91"/>
                </a:cubicBezTo>
                <a:cubicBezTo>
                  <a:pt x="45" y="121"/>
                  <a:pt x="28" y="157"/>
                  <a:pt x="17" y="197"/>
                </a:cubicBezTo>
                <a:cubicBezTo>
                  <a:pt x="9" y="225"/>
                  <a:pt x="4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4" y="21340"/>
                  <a:pt x="9" y="21375"/>
                  <a:pt x="17" y="21403"/>
                </a:cubicBezTo>
                <a:cubicBezTo>
                  <a:pt x="28" y="21443"/>
                  <a:pt x="45" y="21479"/>
                  <a:pt x="67" y="21509"/>
                </a:cubicBezTo>
                <a:cubicBezTo>
                  <a:pt x="88" y="21538"/>
                  <a:pt x="115" y="21562"/>
                  <a:pt x="144" y="21576"/>
                </a:cubicBezTo>
                <a:cubicBezTo>
                  <a:pt x="165" y="21588"/>
                  <a:pt x="190" y="21594"/>
                  <a:pt x="223" y="21597"/>
                </a:cubicBezTo>
                <a:cubicBezTo>
                  <a:pt x="223" y="21597"/>
                  <a:pt x="224" y="21597"/>
                  <a:pt x="224" y="21597"/>
                </a:cubicBezTo>
                <a:cubicBezTo>
                  <a:pt x="257" y="21600"/>
                  <a:pt x="298" y="21600"/>
                  <a:pt x="349" y="21600"/>
                </a:cubicBezTo>
                <a:cubicBezTo>
                  <a:pt x="349" y="21600"/>
                  <a:pt x="349" y="21600"/>
                  <a:pt x="349" y="21600"/>
                </a:cubicBezTo>
                <a:lnTo>
                  <a:pt x="10675" y="21600"/>
                </a:lnTo>
                <a:lnTo>
                  <a:pt x="12452" y="21600"/>
                </a:lnTo>
                <a:cubicBezTo>
                  <a:pt x="12503" y="21600"/>
                  <a:pt x="12543" y="21600"/>
                  <a:pt x="12577" y="21597"/>
                </a:cubicBezTo>
                <a:cubicBezTo>
                  <a:pt x="12592" y="21596"/>
                  <a:pt x="12602" y="21590"/>
                  <a:pt x="12614" y="21587"/>
                </a:cubicBezTo>
                <a:lnTo>
                  <a:pt x="12616" y="21593"/>
                </a:lnTo>
                <a:cubicBezTo>
                  <a:pt x="13898" y="21210"/>
                  <a:pt x="15105" y="20552"/>
                  <a:pt x="16201" y="19665"/>
                </a:cubicBezTo>
                <a:cubicBezTo>
                  <a:pt x="17296" y="18778"/>
                  <a:pt x="18281" y="17661"/>
                  <a:pt x="19119" y="16360"/>
                </a:cubicBezTo>
                <a:lnTo>
                  <a:pt x="16688" y="6"/>
                </a:lnTo>
                <a:lnTo>
                  <a:pt x="12579" y="2"/>
                </a:lnTo>
                <a:lnTo>
                  <a:pt x="12579" y="4"/>
                </a:lnTo>
                <a:cubicBezTo>
                  <a:pt x="12578" y="3"/>
                  <a:pt x="12578" y="3"/>
                  <a:pt x="12577" y="3"/>
                </a:cubicBezTo>
                <a:cubicBezTo>
                  <a:pt x="12543" y="0"/>
                  <a:pt x="12503" y="0"/>
                  <a:pt x="12452" y="0"/>
                </a:cubicBezTo>
                <a:lnTo>
                  <a:pt x="7327" y="0"/>
                </a:lnTo>
                <a:lnTo>
                  <a:pt x="349" y="0"/>
                </a:lnTo>
                <a:close/>
                <a:moveTo>
                  <a:pt x="19119" y="16360"/>
                </a:moveTo>
                <a:lnTo>
                  <a:pt x="21600" y="10292"/>
                </a:lnTo>
                <a:lnTo>
                  <a:pt x="19119" y="16360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8599E69-5CE2-F57F-67C0-415CCB6CA917}"/>
              </a:ext>
            </a:extLst>
          </p:cNvPr>
          <p:cNvSpPr>
            <a:spLocks noChangeAspect="1"/>
          </p:cNvSpPr>
          <p:nvPr userDrawn="1"/>
        </p:nvSpPr>
        <p:spPr>
          <a:xfrm>
            <a:off x="8995282" y="96642"/>
            <a:ext cx="90000" cy="90000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63628C5-3487-C50E-BE4F-B4853FEE1D83}"/>
              </a:ext>
            </a:extLst>
          </p:cNvPr>
          <p:cNvSpPr>
            <a:spLocks noChangeAspect="1"/>
          </p:cNvSpPr>
          <p:nvPr userDrawn="1"/>
        </p:nvSpPr>
        <p:spPr>
          <a:xfrm>
            <a:off x="5402931" y="6671358"/>
            <a:ext cx="90000" cy="90000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EAE8916E-2232-9A74-B691-B5C0A3D62B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953222"/>
            <a:ext cx="1421476" cy="314718"/>
          </a:xfrm>
          <a:prstGeom prst="rect">
            <a:avLst/>
          </a:prstGeom>
        </p:spPr>
      </p:pic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A23B22FF-8652-1C93-E080-0A61DCDD4B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2561613"/>
            <a:ext cx="5248419" cy="2862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Naam van document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921747EF-2F13-1756-24F4-186E95210E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2857921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bg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FEFA122-C2A5-753E-616B-15DB01B0BC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827" y="6081353"/>
            <a:ext cx="5248419" cy="2308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>
                <a:solidFill>
                  <a:schemeClr val="bg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© Esprit ICT - 2024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5095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4044" userDrawn="1">
          <p15:clr>
            <a:srgbClr val="FBAE40"/>
          </p15:clr>
        </p15:guide>
        <p15:guide id="10" pos="363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ment - Roz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E16F2D28-860C-A16E-3526-46724403B17E}"/>
              </a:ext>
            </a:extLst>
          </p:cNvPr>
          <p:cNvSpPr>
            <a:spLocks noChangeAspect="1"/>
          </p:cNvSpPr>
          <p:nvPr userDrawn="1"/>
        </p:nvSpPr>
        <p:spPr>
          <a:xfrm>
            <a:off x="142142" y="133200"/>
            <a:ext cx="11907716" cy="6591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88" y="0"/>
                </a:moveTo>
                <a:lnTo>
                  <a:pt x="19417" y="7"/>
                </a:lnTo>
                <a:lnTo>
                  <a:pt x="19417" y="37"/>
                </a:lnTo>
                <a:cubicBezTo>
                  <a:pt x="18988" y="601"/>
                  <a:pt x="18588" y="1226"/>
                  <a:pt x="18220" y="1904"/>
                </a:cubicBezTo>
                <a:cubicBezTo>
                  <a:pt x="17851" y="2582"/>
                  <a:pt x="17514" y="3313"/>
                  <a:pt x="17211" y="4089"/>
                </a:cubicBezTo>
                <a:lnTo>
                  <a:pt x="20668" y="21591"/>
                </a:lnTo>
                <a:lnTo>
                  <a:pt x="20669" y="21600"/>
                </a:lnTo>
                <a:lnTo>
                  <a:pt x="21108" y="21600"/>
                </a:lnTo>
                <a:lnTo>
                  <a:pt x="21232" y="21600"/>
                </a:lnTo>
                <a:lnTo>
                  <a:pt x="21304" y="21600"/>
                </a:lnTo>
                <a:cubicBezTo>
                  <a:pt x="21348" y="21600"/>
                  <a:pt x="21382" y="21600"/>
                  <a:pt x="21411" y="21597"/>
                </a:cubicBezTo>
                <a:cubicBezTo>
                  <a:pt x="21439" y="21593"/>
                  <a:pt x="21461" y="21586"/>
                  <a:pt x="21478" y="21573"/>
                </a:cubicBezTo>
                <a:cubicBezTo>
                  <a:pt x="21503" y="21557"/>
                  <a:pt x="21525" y="21531"/>
                  <a:pt x="21544" y="21498"/>
                </a:cubicBezTo>
                <a:cubicBezTo>
                  <a:pt x="21562" y="21464"/>
                  <a:pt x="21577" y="21424"/>
                  <a:pt x="21586" y="21379"/>
                </a:cubicBezTo>
                <a:cubicBezTo>
                  <a:pt x="21593" y="21347"/>
                  <a:pt x="21596" y="21308"/>
                  <a:pt x="21598" y="21257"/>
                </a:cubicBezTo>
                <a:cubicBezTo>
                  <a:pt x="21600" y="21207"/>
                  <a:pt x="21600" y="21144"/>
                  <a:pt x="21600" y="21066"/>
                </a:cubicBezTo>
                <a:lnTo>
                  <a:pt x="21600" y="534"/>
                </a:lnTo>
                <a:cubicBezTo>
                  <a:pt x="21600" y="456"/>
                  <a:pt x="21600" y="393"/>
                  <a:pt x="21598" y="343"/>
                </a:cubicBezTo>
                <a:cubicBezTo>
                  <a:pt x="21596" y="292"/>
                  <a:pt x="21593" y="253"/>
                  <a:pt x="21586" y="221"/>
                </a:cubicBezTo>
                <a:cubicBezTo>
                  <a:pt x="21577" y="176"/>
                  <a:pt x="21562" y="136"/>
                  <a:pt x="21544" y="102"/>
                </a:cubicBezTo>
                <a:cubicBezTo>
                  <a:pt x="21525" y="69"/>
                  <a:pt x="21503" y="43"/>
                  <a:pt x="21478" y="27"/>
                </a:cubicBezTo>
                <a:cubicBezTo>
                  <a:pt x="21461" y="14"/>
                  <a:pt x="21439" y="7"/>
                  <a:pt x="21411" y="3"/>
                </a:cubicBezTo>
                <a:cubicBezTo>
                  <a:pt x="21382" y="0"/>
                  <a:pt x="21348" y="0"/>
                  <a:pt x="21304" y="0"/>
                </a:cubicBezTo>
                <a:lnTo>
                  <a:pt x="21232" y="0"/>
                </a:lnTo>
                <a:lnTo>
                  <a:pt x="21108" y="0"/>
                </a:lnTo>
                <a:lnTo>
                  <a:pt x="20588" y="0"/>
                </a:lnTo>
                <a:close/>
                <a:moveTo>
                  <a:pt x="17211" y="4089"/>
                </a:moveTo>
                <a:lnTo>
                  <a:pt x="16321" y="7"/>
                </a:lnTo>
                <a:lnTo>
                  <a:pt x="12179" y="7"/>
                </a:lnTo>
                <a:lnTo>
                  <a:pt x="264" y="7"/>
                </a:lnTo>
                <a:cubicBezTo>
                  <a:pt x="225" y="7"/>
                  <a:pt x="194" y="7"/>
                  <a:pt x="169" y="10"/>
                </a:cubicBezTo>
                <a:cubicBezTo>
                  <a:pt x="144" y="13"/>
                  <a:pt x="124" y="19"/>
                  <a:pt x="109" y="30"/>
                </a:cubicBezTo>
                <a:cubicBezTo>
                  <a:pt x="87" y="45"/>
                  <a:pt x="67" y="68"/>
                  <a:pt x="50" y="98"/>
                </a:cubicBezTo>
                <a:cubicBezTo>
                  <a:pt x="34" y="128"/>
                  <a:pt x="21" y="163"/>
                  <a:pt x="13" y="204"/>
                </a:cubicBezTo>
                <a:cubicBezTo>
                  <a:pt x="7" y="232"/>
                  <a:pt x="3" y="267"/>
                  <a:pt x="2" y="312"/>
                </a:cubicBezTo>
                <a:cubicBezTo>
                  <a:pt x="0" y="357"/>
                  <a:pt x="0" y="413"/>
                  <a:pt x="0" y="483"/>
                </a:cubicBezTo>
                <a:lnTo>
                  <a:pt x="0" y="21117"/>
                </a:lnTo>
                <a:cubicBezTo>
                  <a:pt x="0" y="21187"/>
                  <a:pt x="0" y="21243"/>
                  <a:pt x="2" y="21288"/>
                </a:cubicBezTo>
                <a:cubicBezTo>
                  <a:pt x="3" y="21333"/>
                  <a:pt x="7" y="21368"/>
                  <a:pt x="13" y="21396"/>
                </a:cubicBezTo>
                <a:cubicBezTo>
                  <a:pt x="21" y="21437"/>
                  <a:pt x="34" y="21472"/>
                  <a:pt x="50" y="21502"/>
                </a:cubicBezTo>
                <a:cubicBezTo>
                  <a:pt x="67" y="21532"/>
                  <a:pt x="87" y="21555"/>
                  <a:pt x="109" y="21570"/>
                </a:cubicBezTo>
                <a:cubicBezTo>
                  <a:pt x="124" y="21581"/>
                  <a:pt x="144" y="21587"/>
                  <a:pt x="169" y="21590"/>
                </a:cubicBezTo>
                <a:cubicBezTo>
                  <a:pt x="194" y="21593"/>
                  <a:pt x="225" y="21593"/>
                  <a:pt x="264" y="21593"/>
                </a:cubicBezTo>
                <a:lnTo>
                  <a:pt x="12179" y="21593"/>
                </a:lnTo>
                <a:lnTo>
                  <a:pt x="16321" y="21593"/>
                </a:lnTo>
                <a:cubicBezTo>
                  <a:pt x="15211" y="17199"/>
                  <a:pt x="15142" y="12177"/>
                  <a:pt x="16130" y="7690"/>
                </a:cubicBezTo>
                <a:cubicBezTo>
                  <a:pt x="16412" y="6411"/>
                  <a:pt x="16777" y="5204"/>
                  <a:pt x="17211" y="4089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3000">
                <a:solidFill>
                  <a:schemeClr val="accent6"/>
                </a:solidFill>
                <a:latin typeface="Archivo SemiBold Regular"/>
                <a:ea typeface="Archivo SemiBold Regular"/>
                <a:cs typeface="Archivo SemiBold Regular"/>
                <a:sym typeface="Archivo SemiBold Regular"/>
              </a:defRPr>
            </a:pPr>
            <a:endParaRPr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1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11C5BF2-D87C-6A80-6634-341CECEA1815}"/>
              </a:ext>
            </a:extLst>
          </p:cNvPr>
          <p:cNvSpPr>
            <a:spLocks noChangeAspect="1"/>
          </p:cNvSpPr>
          <p:nvPr userDrawn="1"/>
        </p:nvSpPr>
        <p:spPr>
          <a:xfrm>
            <a:off x="10821768" y="96642"/>
            <a:ext cx="90000" cy="900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CDA9E3B-B3E3-1A64-D54A-3EC2C74B5A23}"/>
              </a:ext>
            </a:extLst>
          </p:cNvPr>
          <p:cNvSpPr>
            <a:spLocks noChangeAspect="1"/>
          </p:cNvSpPr>
          <p:nvPr userDrawn="1"/>
        </p:nvSpPr>
        <p:spPr>
          <a:xfrm>
            <a:off x="9093503" y="6671358"/>
            <a:ext cx="90000" cy="900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3546659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ment - Gro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E16F2D28-860C-A16E-3526-46724403B17E}"/>
              </a:ext>
            </a:extLst>
          </p:cNvPr>
          <p:cNvSpPr>
            <a:spLocks noChangeAspect="1"/>
          </p:cNvSpPr>
          <p:nvPr userDrawn="1"/>
        </p:nvSpPr>
        <p:spPr>
          <a:xfrm>
            <a:off x="142142" y="133200"/>
            <a:ext cx="11907716" cy="6591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88" y="0"/>
                </a:moveTo>
                <a:lnTo>
                  <a:pt x="19417" y="7"/>
                </a:lnTo>
                <a:lnTo>
                  <a:pt x="19417" y="37"/>
                </a:lnTo>
                <a:cubicBezTo>
                  <a:pt x="18988" y="601"/>
                  <a:pt x="18588" y="1226"/>
                  <a:pt x="18220" y="1904"/>
                </a:cubicBezTo>
                <a:cubicBezTo>
                  <a:pt x="17851" y="2582"/>
                  <a:pt x="17514" y="3313"/>
                  <a:pt x="17211" y="4089"/>
                </a:cubicBezTo>
                <a:lnTo>
                  <a:pt x="20668" y="21591"/>
                </a:lnTo>
                <a:lnTo>
                  <a:pt x="20669" y="21600"/>
                </a:lnTo>
                <a:lnTo>
                  <a:pt x="21108" y="21600"/>
                </a:lnTo>
                <a:lnTo>
                  <a:pt x="21232" y="21600"/>
                </a:lnTo>
                <a:lnTo>
                  <a:pt x="21304" y="21600"/>
                </a:lnTo>
                <a:cubicBezTo>
                  <a:pt x="21348" y="21600"/>
                  <a:pt x="21382" y="21600"/>
                  <a:pt x="21411" y="21597"/>
                </a:cubicBezTo>
                <a:cubicBezTo>
                  <a:pt x="21439" y="21593"/>
                  <a:pt x="21461" y="21586"/>
                  <a:pt x="21478" y="21573"/>
                </a:cubicBezTo>
                <a:cubicBezTo>
                  <a:pt x="21503" y="21557"/>
                  <a:pt x="21525" y="21531"/>
                  <a:pt x="21544" y="21498"/>
                </a:cubicBezTo>
                <a:cubicBezTo>
                  <a:pt x="21562" y="21464"/>
                  <a:pt x="21577" y="21424"/>
                  <a:pt x="21586" y="21379"/>
                </a:cubicBezTo>
                <a:cubicBezTo>
                  <a:pt x="21593" y="21347"/>
                  <a:pt x="21596" y="21308"/>
                  <a:pt x="21598" y="21257"/>
                </a:cubicBezTo>
                <a:cubicBezTo>
                  <a:pt x="21600" y="21207"/>
                  <a:pt x="21600" y="21144"/>
                  <a:pt x="21600" y="21066"/>
                </a:cubicBezTo>
                <a:lnTo>
                  <a:pt x="21600" y="534"/>
                </a:lnTo>
                <a:cubicBezTo>
                  <a:pt x="21600" y="456"/>
                  <a:pt x="21600" y="393"/>
                  <a:pt x="21598" y="343"/>
                </a:cubicBezTo>
                <a:cubicBezTo>
                  <a:pt x="21596" y="292"/>
                  <a:pt x="21593" y="253"/>
                  <a:pt x="21586" y="221"/>
                </a:cubicBezTo>
                <a:cubicBezTo>
                  <a:pt x="21577" y="176"/>
                  <a:pt x="21562" y="136"/>
                  <a:pt x="21544" y="102"/>
                </a:cubicBezTo>
                <a:cubicBezTo>
                  <a:pt x="21525" y="69"/>
                  <a:pt x="21503" y="43"/>
                  <a:pt x="21478" y="27"/>
                </a:cubicBezTo>
                <a:cubicBezTo>
                  <a:pt x="21461" y="14"/>
                  <a:pt x="21439" y="7"/>
                  <a:pt x="21411" y="3"/>
                </a:cubicBezTo>
                <a:cubicBezTo>
                  <a:pt x="21382" y="0"/>
                  <a:pt x="21348" y="0"/>
                  <a:pt x="21304" y="0"/>
                </a:cubicBezTo>
                <a:lnTo>
                  <a:pt x="21232" y="0"/>
                </a:lnTo>
                <a:lnTo>
                  <a:pt x="21108" y="0"/>
                </a:lnTo>
                <a:lnTo>
                  <a:pt x="20588" y="0"/>
                </a:lnTo>
                <a:close/>
                <a:moveTo>
                  <a:pt x="17211" y="4089"/>
                </a:moveTo>
                <a:lnTo>
                  <a:pt x="16321" y="7"/>
                </a:lnTo>
                <a:lnTo>
                  <a:pt x="12179" y="7"/>
                </a:lnTo>
                <a:lnTo>
                  <a:pt x="264" y="7"/>
                </a:lnTo>
                <a:cubicBezTo>
                  <a:pt x="225" y="7"/>
                  <a:pt x="194" y="7"/>
                  <a:pt x="169" y="10"/>
                </a:cubicBezTo>
                <a:cubicBezTo>
                  <a:pt x="144" y="13"/>
                  <a:pt x="124" y="19"/>
                  <a:pt x="109" y="30"/>
                </a:cubicBezTo>
                <a:cubicBezTo>
                  <a:pt x="87" y="45"/>
                  <a:pt x="67" y="68"/>
                  <a:pt x="50" y="98"/>
                </a:cubicBezTo>
                <a:cubicBezTo>
                  <a:pt x="34" y="128"/>
                  <a:pt x="21" y="163"/>
                  <a:pt x="13" y="204"/>
                </a:cubicBezTo>
                <a:cubicBezTo>
                  <a:pt x="7" y="232"/>
                  <a:pt x="3" y="267"/>
                  <a:pt x="2" y="312"/>
                </a:cubicBezTo>
                <a:cubicBezTo>
                  <a:pt x="0" y="357"/>
                  <a:pt x="0" y="413"/>
                  <a:pt x="0" y="483"/>
                </a:cubicBezTo>
                <a:lnTo>
                  <a:pt x="0" y="21117"/>
                </a:lnTo>
                <a:cubicBezTo>
                  <a:pt x="0" y="21187"/>
                  <a:pt x="0" y="21243"/>
                  <a:pt x="2" y="21288"/>
                </a:cubicBezTo>
                <a:cubicBezTo>
                  <a:pt x="3" y="21333"/>
                  <a:pt x="7" y="21368"/>
                  <a:pt x="13" y="21396"/>
                </a:cubicBezTo>
                <a:cubicBezTo>
                  <a:pt x="21" y="21437"/>
                  <a:pt x="34" y="21472"/>
                  <a:pt x="50" y="21502"/>
                </a:cubicBezTo>
                <a:cubicBezTo>
                  <a:pt x="67" y="21532"/>
                  <a:pt x="87" y="21555"/>
                  <a:pt x="109" y="21570"/>
                </a:cubicBezTo>
                <a:cubicBezTo>
                  <a:pt x="124" y="21581"/>
                  <a:pt x="144" y="21587"/>
                  <a:pt x="169" y="21590"/>
                </a:cubicBezTo>
                <a:cubicBezTo>
                  <a:pt x="194" y="21593"/>
                  <a:pt x="225" y="21593"/>
                  <a:pt x="264" y="21593"/>
                </a:cubicBezTo>
                <a:lnTo>
                  <a:pt x="12179" y="21593"/>
                </a:lnTo>
                <a:lnTo>
                  <a:pt x="16321" y="21593"/>
                </a:lnTo>
                <a:cubicBezTo>
                  <a:pt x="15211" y="17199"/>
                  <a:pt x="15142" y="12177"/>
                  <a:pt x="16130" y="7690"/>
                </a:cubicBezTo>
                <a:cubicBezTo>
                  <a:pt x="16412" y="6411"/>
                  <a:pt x="16777" y="5204"/>
                  <a:pt x="17211" y="4089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3000">
                <a:solidFill>
                  <a:schemeClr val="accent6"/>
                </a:solidFill>
                <a:latin typeface="Archivo SemiBold Regular"/>
                <a:ea typeface="Archivo SemiBold Regular"/>
                <a:cs typeface="Archivo SemiBold Regular"/>
                <a:sym typeface="Archivo SemiBold Regular"/>
              </a:defRPr>
            </a:pPr>
            <a:endParaRPr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accent4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1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4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11C5BF2-D87C-6A80-6634-341CECEA1815}"/>
              </a:ext>
            </a:extLst>
          </p:cNvPr>
          <p:cNvSpPr>
            <a:spLocks noChangeAspect="1"/>
          </p:cNvSpPr>
          <p:nvPr userDrawn="1"/>
        </p:nvSpPr>
        <p:spPr>
          <a:xfrm>
            <a:off x="10821768" y="96642"/>
            <a:ext cx="90000" cy="9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CDA9E3B-B3E3-1A64-D54A-3EC2C74B5A23}"/>
              </a:ext>
            </a:extLst>
          </p:cNvPr>
          <p:cNvSpPr>
            <a:spLocks noChangeAspect="1"/>
          </p:cNvSpPr>
          <p:nvPr userDrawn="1"/>
        </p:nvSpPr>
        <p:spPr>
          <a:xfrm>
            <a:off x="9093503" y="6671358"/>
            <a:ext cx="90000" cy="9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1206320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ment - Blauw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E16F2D28-860C-A16E-3526-46724403B17E}"/>
              </a:ext>
            </a:extLst>
          </p:cNvPr>
          <p:cNvSpPr>
            <a:spLocks noChangeAspect="1"/>
          </p:cNvSpPr>
          <p:nvPr userDrawn="1"/>
        </p:nvSpPr>
        <p:spPr>
          <a:xfrm>
            <a:off x="142142" y="133200"/>
            <a:ext cx="11907716" cy="6591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88" y="0"/>
                </a:moveTo>
                <a:lnTo>
                  <a:pt x="19417" y="7"/>
                </a:lnTo>
                <a:lnTo>
                  <a:pt x="19417" y="37"/>
                </a:lnTo>
                <a:cubicBezTo>
                  <a:pt x="18988" y="601"/>
                  <a:pt x="18588" y="1226"/>
                  <a:pt x="18220" y="1904"/>
                </a:cubicBezTo>
                <a:cubicBezTo>
                  <a:pt x="17851" y="2582"/>
                  <a:pt x="17514" y="3313"/>
                  <a:pt x="17211" y="4089"/>
                </a:cubicBezTo>
                <a:lnTo>
                  <a:pt x="20668" y="21591"/>
                </a:lnTo>
                <a:lnTo>
                  <a:pt x="20669" y="21600"/>
                </a:lnTo>
                <a:lnTo>
                  <a:pt x="21108" y="21600"/>
                </a:lnTo>
                <a:lnTo>
                  <a:pt x="21232" y="21600"/>
                </a:lnTo>
                <a:lnTo>
                  <a:pt x="21304" y="21600"/>
                </a:lnTo>
                <a:cubicBezTo>
                  <a:pt x="21348" y="21600"/>
                  <a:pt x="21382" y="21600"/>
                  <a:pt x="21411" y="21597"/>
                </a:cubicBezTo>
                <a:cubicBezTo>
                  <a:pt x="21439" y="21593"/>
                  <a:pt x="21461" y="21586"/>
                  <a:pt x="21478" y="21573"/>
                </a:cubicBezTo>
                <a:cubicBezTo>
                  <a:pt x="21503" y="21557"/>
                  <a:pt x="21525" y="21531"/>
                  <a:pt x="21544" y="21498"/>
                </a:cubicBezTo>
                <a:cubicBezTo>
                  <a:pt x="21562" y="21464"/>
                  <a:pt x="21577" y="21424"/>
                  <a:pt x="21586" y="21379"/>
                </a:cubicBezTo>
                <a:cubicBezTo>
                  <a:pt x="21593" y="21347"/>
                  <a:pt x="21596" y="21308"/>
                  <a:pt x="21598" y="21257"/>
                </a:cubicBezTo>
                <a:cubicBezTo>
                  <a:pt x="21600" y="21207"/>
                  <a:pt x="21600" y="21144"/>
                  <a:pt x="21600" y="21066"/>
                </a:cubicBezTo>
                <a:lnTo>
                  <a:pt x="21600" y="534"/>
                </a:lnTo>
                <a:cubicBezTo>
                  <a:pt x="21600" y="456"/>
                  <a:pt x="21600" y="393"/>
                  <a:pt x="21598" y="343"/>
                </a:cubicBezTo>
                <a:cubicBezTo>
                  <a:pt x="21596" y="292"/>
                  <a:pt x="21593" y="253"/>
                  <a:pt x="21586" y="221"/>
                </a:cubicBezTo>
                <a:cubicBezTo>
                  <a:pt x="21577" y="176"/>
                  <a:pt x="21562" y="136"/>
                  <a:pt x="21544" y="102"/>
                </a:cubicBezTo>
                <a:cubicBezTo>
                  <a:pt x="21525" y="69"/>
                  <a:pt x="21503" y="43"/>
                  <a:pt x="21478" y="27"/>
                </a:cubicBezTo>
                <a:cubicBezTo>
                  <a:pt x="21461" y="14"/>
                  <a:pt x="21439" y="7"/>
                  <a:pt x="21411" y="3"/>
                </a:cubicBezTo>
                <a:cubicBezTo>
                  <a:pt x="21382" y="0"/>
                  <a:pt x="21348" y="0"/>
                  <a:pt x="21304" y="0"/>
                </a:cubicBezTo>
                <a:lnTo>
                  <a:pt x="21232" y="0"/>
                </a:lnTo>
                <a:lnTo>
                  <a:pt x="21108" y="0"/>
                </a:lnTo>
                <a:lnTo>
                  <a:pt x="20588" y="0"/>
                </a:lnTo>
                <a:close/>
                <a:moveTo>
                  <a:pt x="17211" y="4089"/>
                </a:moveTo>
                <a:lnTo>
                  <a:pt x="16321" y="7"/>
                </a:lnTo>
                <a:lnTo>
                  <a:pt x="12179" y="7"/>
                </a:lnTo>
                <a:lnTo>
                  <a:pt x="264" y="7"/>
                </a:lnTo>
                <a:cubicBezTo>
                  <a:pt x="225" y="7"/>
                  <a:pt x="194" y="7"/>
                  <a:pt x="169" y="10"/>
                </a:cubicBezTo>
                <a:cubicBezTo>
                  <a:pt x="144" y="13"/>
                  <a:pt x="124" y="19"/>
                  <a:pt x="109" y="30"/>
                </a:cubicBezTo>
                <a:cubicBezTo>
                  <a:pt x="87" y="45"/>
                  <a:pt x="67" y="68"/>
                  <a:pt x="50" y="98"/>
                </a:cubicBezTo>
                <a:cubicBezTo>
                  <a:pt x="34" y="128"/>
                  <a:pt x="21" y="163"/>
                  <a:pt x="13" y="204"/>
                </a:cubicBezTo>
                <a:cubicBezTo>
                  <a:pt x="7" y="232"/>
                  <a:pt x="3" y="267"/>
                  <a:pt x="2" y="312"/>
                </a:cubicBezTo>
                <a:cubicBezTo>
                  <a:pt x="0" y="357"/>
                  <a:pt x="0" y="413"/>
                  <a:pt x="0" y="483"/>
                </a:cubicBezTo>
                <a:lnTo>
                  <a:pt x="0" y="21117"/>
                </a:lnTo>
                <a:cubicBezTo>
                  <a:pt x="0" y="21187"/>
                  <a:pt x="0" y="21243"/>
                  <a:pt x="2" y="21288"/>
                </a:cubicBezTo>
                <a:cubicBezTo>
                  <a:pt x="3" y="21333"/>
                  <a:pt x="7" y="21368"/>
                  <a:pt x="13" y="21396"/>
                </a:cubicBezTo>
                <a:cubicBezTo>
                  <a:pt x="21" y="21437"/>
                  <a:pt x="34" y="21472"/>
                  <a:pt x="50" y="21502"/>
                </a:cubicBezTo>
                <a:cubicBezTo>
                  <a:pt x="67" y="21532"/>
                  <a:pt x="87" y="21555"/>
                  <a:pt x="109" y="21570"/>
                </a:cubicBezTo>
                <a:cubicBezTo>
                  <a:pt x="124" y="21581"/>
                  <a:pt x="144" y="21587"/>
                  <a:pt x="169" y="21590"/>
                </a:cubicBezTo>
                <a:cubicBezTo>
                  <a:pt x="194" y="21593"/>
                  <a:pt x="225" y="21593"/>
                  <a:pt x="264" y="21593"/>
                </a:cubicBezTo>
                <a:lnTo>
                  <a:pt x="12179" y="21593"/>
                </a:lnTo>
                <a:lnTo>
                  <a:pt x="16321" y="21593"/>
                </a:lnTo>
                <a:cubicBezTo>
                  <a:pt x="15211" y="17199"/>
                  <a:pt x="15142" y="12177"/>
                  <a:pt x="16130" y="7690"/>
                </a:cubicBezTo>
                <a:cubicBezTo>
                  <a:pt x="16412" y="6411"/>
                  <a:pt x="16777" y="5204"/>
                  <a:pt x="17211" y="4089"/>
                </a:cubicBezTo>
                <a:close/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3000">
                <a:solidFill>
                  <a:schemeClr val="accent6"/>
                </a:solidFill>
                <a:latin typeface="Archivo SemiBold Regular"/>
                <a:ea typeface="Archivo SemiBold Regular"/>
                <a:cs typeface="Archivo SemiBold Regular"/>
                <a:sym typeface="Archivo SemiBold Regular"/>
              </a:defRPr>
            </a:pPr>
            <a:endParaRPr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accent6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1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6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11C5BF2-D87C-6A80-6634-341CECEA1815}"/>
              </a:ext>
            </a:extLst>
          </p:cNvPr>
          <p:cNvSpPr>
            <a:spLocks noChangeAspect="1"/>
          </p:cNvSpPr>
          <p:nvPr userDrawn="1"/>
        </p:nvSpPr>
        <p:spPr>
          <a:xfrm>
            <a:off x="10821768" y="96642"/>
            <a:ext cx="90000" cy="90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CDA9E3B-B3E3-1A64-D54A-3EC2C74B5A23}"/>
              </a:ext>
            </a:extLst>
          </p:cNvPr>
          <p:cNvSpPr>
            <a:spLocks noChangeAspect="1"/>
          </p:cNvSpPr>
          <p:nvPr userDrawn="1"/>
        </p:nvSpPr>
        <p:spPr>
          <a:xfrm>
            <a:off x="9093503" y="6671358"/>
            <a:ext cx="90000" cy="90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2267061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6">
            <a:extLst>
              <a:ext uri="{FF2B5EF4-FFF2-40B4-BE49-F238E27FC236}">
                <a16:creationId xmlns:a16="http://schemas.microsoft.com/office/drawing/2014/main" id="{A0E80EF2-3846-A4AF-BCC3-DA58FF52D1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DDD94450-C969-0FDF-C274-BCF048FA5A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2" y="1091800"/>
            <a:ext cx="110556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484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1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7193107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7188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DE5E48-A940-F13A-0D6A-1444B4C133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3" y="1667106"/>
            <a:ext cx="7190605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 Ut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. Donec maximus </a:t>
            </a:r>
            <a:r>
              <a:rPr lang="en-GB" err="1"/>
              <a:t>leo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egestas</a:t>
            </a:r>
            <a:r>
              <a:rPr lang="en-GB"/>
              <a:t>. Morbi id </a:t>
            </a:r>
            <a:r>
              <a:rPr lang="en-GB" err="1"/>
              <a:t>sem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non at </a:t>
            </a:r>
            <a:r>
              <a:rPr lang="en-GB" err="1"/>
              <a:t>turpis</a:t>
            </a:r>
            <a:r>
              <a:rPr lang="en-GB"/>
              <a:t>. Nam id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.</a:t>
            </a:r>
          </a:p>
          <a:p>
            <a:pPr lvl="0"/>
            <a:r>
              <a:rPr lang="en-GB"/>
              <a:t>Cras sit </a:t>
            </a:r>
            <a:r>
              <a:rPr lang="en-GB" err="1"/>
              <a:t>amet</a:t>
            </a:r>
            <a:r>
              <a:rPr lang="en-GB"/>
              <a:t> ligula diam. Vestibulum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ipsum. In convallis ac </a:t>
            </a:r>
            <a:r>
              <a:rPr lang="en-GB" err="1"/>
              <a:t>nibh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. Nam </a:t>
            </a:r>
            <a:r>
              <a:rPr lang="en-GB" err="1"/>
              <a:t>interdum</a:t>
            </a:r>
            <a:r>
              <a:rPr lang="en-GB"/>
              <a:t> magna </a:t>
            </a:r>
            <a:r>
              <a:rPr lang="en-GB" err="1"/>
              <a:t>orci</a:t>
            </a:r>
            <a:r>
              <a:rPr lang="en-GB"/>
              <a:t>,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 non. Nunc ligula </a:t>
            </a:r>
            <a:r>
              <a:rPr lang="en-GB" err="1"/>
              <a:t>dolor</a:t>
            </a:r>
            <a:r>
              <a:rPr lang="en-GB"/>
              <a:t>, </a:t>
            </a:r>
            <a:r>
              <a:rPr lang="en-GB" err="1"/>
              <a:t>posuere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orttitor</a:t>
            </a:r>
            <a:r>
              <a:rPr lang="en-GB"/>
              <a:t> semper, </a:t>
            </a:r>
            <a:r>
              <a:rPr lang="en-GB" err="1"/>
              <a:t>vehicula</a:t>
            </a:r>
            <a:r>
              <a:rPr lang="en-GB"/>
              <a:t> vitae </a:t>
            </a:r>
            <a:r>
              <a:rPr lang="en-GB" err="1"/>
              <a:t>qua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rna</a:t>
            </a:r>
            <a:r>
              <a:rPr lang="en-GB"/>
              <a:t>, </a:t>
            </a:r>
            <a:r>
              <a:rPr lang="en-GB" err="1"/>
              <a:t>rhoncus</a:t>
            </a:r>
            <a:r>
              <a:rPr lang="en-GB"/>
              <a:t> vitae </a:t>
            </a:r>
            <a:r>
              <a:rPr lang="en-GB" err="1"/>
              <a:t>odio</a:t>
            </a:r>
            <a:r>
              <a:rPr lang="en-GB"/>
              <a:t> in, vestibulum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Nunc et </a:t>
            </a:r>
            <a:r>
              <a:rPr lang="en-GB" err="1"/>
              <a:t>porttitor</a:t>
            </a:r>
            <a:r>
              <a:rPr lang="en-GB"/>
              <a:t> ipsum. Nunc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 maximus. </a:t>
            </a:r>
            <a:r>
              <a:rPr lang="en-GB" err="1"/>
              <a:t>Fusce</a:t>
            </a:r>
            <a:r>
              <a:rPr lang="en-GB"/>
              <a:t> cursus, nisi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, eros </a:t>
            </a:r>
            <a:r>
              <a:rPr lang="en-GB" err="1"/>
              <a:t>nibh</a:t>
            </a:r>
            <a:r>
              <a:rPr lang="en-GB"/>
              <a:t> fermentum ante, id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ligula.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 </a:t>
            </a:r>
            <a:r>
              <a:rPr lang="en-GB" err="1"/>
              <a:t>montes</a:t>
            </a:r>
            <a:r>
              <a:rPr lang="en-GB"/>
              <a:t>, </a:t>
            </a:r>
            <a:r>
              <a:rPr lang="en-GB" err="1"/>
              <a:t>nascetur</a:t>
            </a:r>
            <a:r>
              <a:rPr lang="en-GB"/>
              <a:t> </a:t>
            </a:r>
            <a:r>
              <a:rPr lang="en-GB" err="1"/>
              <a:t>ridiculus</a:t>
            </a:r>
            <a:r>
              <a:rPr lang="en-GB"/>
              <a:t> mus. Vestibulum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lect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sodales</a:t>
            </a:r>
            <a:r>
              <a:rPr lang="en-GB"/>
              <a:t> et ante </a:t>
            </a:r>
            <a:r>
              <a:rPr lang="en-GB" err="1"/>
              <a:t>elementum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.</a:t>
            </a:r>
            <a:endParaRPr lang="en-NL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1ABCBFA-2BA8-9FEA-76CA-A5C27DA64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5824" y="229379"/>
            <a:ext cx="742520" cy="164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861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2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6">
            <a:extLst>
              <a:ext uri="{FF2B5EF4-FFF2-40B4-BE49-F238E27FC236}">
                <a16:creationId xmlns:a16="http://schemas.microsoft.com/office/drawing/2014/main" id="{A0E80EF2-3846-A4AF-BCC3-DA58FF52D1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DDD94450-C969-0FDF-C274-BCF048FA5A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52597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88561EB-28B6-68DC-2BE4-FACBC7E8CB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3" y="1667106"/>
            <a:ext cx="5259709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 Ut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. Donec maximus </a:t>
            </a:r>
            <a:r>
              <a:rPr lang="en-GB" err="1"/>
              <a:t>leo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egestas</a:t>
            </a:r>
            <a:r>
              <a:rPr lang="en-GB"/>
              <a:t>. Morbi id </a:t>
            </a:r>
            <a:r>
              <a:rPr lang="en-GB" err="1"/>
              <a:t>sem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non at </a:t>
            </a:r>
            <a:r>
              <a:rPr lang="en-GB" err="1"/>
              <a:t>turpis</a:t>
            </a:r>
            <a:r>
              <a:rPr lang="en-GB"/>
              <a:t>. Nam id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.</a:t>
            </a:r>
          </a:p>
          <a:p>
            <a:pPr lvl="0"/>
            <a:r>
              <a:rPr lang="en-GB"/>
              <a:t>Cras sit </a:t>
            </a:r>
            <a:r>
              <a:rPr lang="en-GB" err="1"/>
              <a:t>amet</a:t>
            </a:r>
            <a:r>
              <a:rPr lang="en-GB"/>
              <a:t> ligula diam. Vestibulum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ipsum. In convallis ac </a:t>
            </a:r>
            <a:r>
              <a:rPr lang="en-GB" err="1"/>
              <a:t>nibh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. Nam </a:t>
            </a:r>
            <a:r>
              <a:rPr lang="en-GB" err="1"/>
              <a:t>interdum</a:t>
            </a:r>
            <a:r>
              <a:rPr lang="en-GB"/>
              <a:t> magna </a:t>
            </a:r>
            <a:r>
              <a:rPr lang="en-GB" err="1"/>
              <a:t>orci</a:t>
            </a:r>
            <a:r>
              <a:rPr lang="en-GB"/>
              <a:t>,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 non. Nunc ligula </a:t>
            </a:r>
            <a:r>
              <a:rPr lang="en-GB" err="1"/>
              <a:t>dolor</a:t>
            </a:r>
            <a:r>
              <a:rPr lang="en-GB"/>
              <a:t>, </a:t>
            </a:r>
            <a:r>
              <a:rPr lang="en-GB" err="1"/>
              <a:t>posseru</a:t>
            </a:r>
            <a:endParaRPr lang="en-N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2009C03-1C2F-6B79-8E04-DE3AAC042E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3266" y="1667106"/>
            <a:ext cx="5234847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lang="en-GB" sz="1000" b="0" i="0" kern="1200" dirty="0" smtClean="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 err="1"/>
              <a:t>posuere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orttitor</a:t>
            </a:r>
            <a:r>
              <a:rPr lang="en-GB"/>
              <a:t> semper, </a:t>
            </a:r>
            <a:r>
              <a:rPr lang="en-GB" err="1"/>
              <a:t>vehicula</a:t>
            </a:r>
            <a:r>
              <a:rPr lang="en-GB"/>
              <a:t> vitae </a:t>
            </a:r>
            <a:r>
              <a:rPr lang="en-GB" err="1"/>
              <a:t>qua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rna</a:t>
            </a:r>
            <a:r>
              <a:rPr lang="en-GB"/>
              <a:t>, </a:t>
            </a:r>
            <a:r>
              <a:rPr lang="en-GB" err="1"/>
              <a:t>rhoncus</a:t>
            </a:r>
            <a:r>
              <a:rPr lang="en-GB"/>
              <a:t> vitae </a:t>
            </a:r>
            <a:r>
              <a:rPr lang="en-GB" err="1"/>
              <a:t>odio</a:t>
            </a:r>
            <a:r>
              <a:rPr lang="en-GB"/>
              <a:t> in, vestibulum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Nunc et </a:t>
            </a:r>
            <a:r>
              <a:rPr lang="en-GB" err="1"/>
              <a:t>porttitor</a:t>
            </a:r>
            <a:r>
              <a:rPr lang="en-GB"/>
              <a:t> ipsum. Nunc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 maximus. </a:t>
            </a:r>
            <a:r>
              <a:rPr lang="en-GB" err="1"/>
              <a:t>Fusce</a:t>
            </a:r>
            <a:r>
              <a:rPr lang="en-GB"/>
              <a:t> cursus, nisi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, eros </a:t>
            </a:r>
            <a:r>
              <a:rPr lang="en-GB" err="1"/>
              <a:t>nibh</a:t>
            </a:r>
            <a:r>
              <a:rPr lang="en-GB"/>
              <a:t> fermentum ante, id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ligula.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 </a:t>
            </a:r>
            <a:r>
              <a:rPr lang="en-GB" err="1"/>
              <a:t>montes</a:t>
            </a:r>
            <a:r>
              <a:rPr lang="en-GB"/>
              <a:t>, </a:t>
            </a:r>
            <a:r>
              <a:rPr lang="en-GB" err="1"/>
              <a:t>nascetur</a:t>
            </a:r>
            <a:r>
              <a:rPr lang="en-GB"/>
              <a:t> </a:t>
            </a:r>
            <a:r>
              <a:rPr lang="en-GB" err="1"/>
              <a:t>ridiculus</a:t>
            </a:r>
            <a:r>
              <a:rPr lang="en-GB"/>
              <a:t> mus. Vestibulum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lect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sodales</a:t>
            </a:r>
            <a:r>
              <a:rPr lang="en-GB"/>
              <a:t> et ante </a:t>
            </a:r>
            <a:r>
              <a:rPr lang="en-GB" err="1"/>
              <a:t>elementum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.</a:t>
            </a:r>
          </a:p>
          <a:p>
            <a:pPr lvl="0"/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 et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blandit</a:t>
            </a:r>
            <a:r>
              <a:rPr lang="en-GB"/>
              <a:t>. Sed tempus </a:t>
            </a:r>
            <a:r>
              <a:rPr lang="en-GB" err="1"/>
              <a:t>pretium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mperdiet</a:t>
            </a:r>
            <a:r>
              <a:rPr lang="en-GB"/>
              <a:t>. Duis at </a:t>
            </a:r>
            <a:r>
              <a:rPr lang="en-GB" err="1"/>
              <a:t>felis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, lacinia </a:t>
            </a:r>
            <a:r>
              <a:rPr lang="en-GB" err="1"/>
              <a:t>orci</a:t>
            </a:r>
            <a:r>
              <a:rPr lang="en-GB"/>
              <a:t> non,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tortor</a:t>
            </a:r>
            <a:r>
              <a:rPr lang="en-GB"/>
              <a:t>. </a:t>
            </a:r>
            <a:r>
              <a:rPr lang="en-GB" err="1"/>
              <a:t>Vivamus</a:t>
            </a:r>
            <a:r>
              <a:rPr lang="en-GB"/>
              <a:t> pulvinar, </a:t>
            </a:r>
            <a:r>
              <a:rPr lang="en-GB" err="1"/>
              <a:t>nibh</a:t>
            </a:r>
            <a:r>
              <a:rPr lang="en-GB"/>
              <a:t> in </a:t>
            </a:r>
            <a:r>
              <a:rPr lang="en-GB" err="1"/>
              <a:t>fringilla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, ligula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,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imperdiet</a:t>
            </a:r>
            <a:r>
              <a:rPr lang="en-GB"/>
              <a:t> </a:t>
            </a:r>
            <a:r>
              <a:rPr lang="en-GB" err="1"/>
              <a:t>risus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Donec </a:t>
            </a:r>
            <a:r>
              <a:rPr lang="en-GB" err="1"/>
              <a:t>feugiat</a:t>
            </a:r>
            <a:r>
              <a:rPr lang="en-GB"/>
              <a:t>, </a:t>
            </a:r>
            <a:r>
              <a:rPr lang="en-GB" err="1"/>
              <a:t>lectu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ornare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, </a:t>
            </a:r>
            <a:r>
              <a:rPr lang="en-GB" err="1"/>
              <a:t>nunc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porttitor</a:t>
            </a:r>
            <a:r>
              <a:rPr lang="en-GB"/>
              <a:t> </a:t>
            </a:r>
            <a:r>
              <a:rPr lang="en-GB" err="1"/>
              <a:t>turpis</a:t>
            </a:r>
            <a:r>
              <a:rPr lang="en-GB"/>
              <a:t>, at </a:t>
            </a:r>
            <a:r>
              <a:rPr lang="en-GB" err="1"/>
              <a:t>posuere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condimentum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massa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nisi mi, </a:t>
            </a:r>
            <a:r>
              <a:rPr lang="en-GB" err="1"/>
              <a:t>molestie</a:t>
            </a:r>
            <a:r>
              <a:rPr lang="en-GB"/>
              <a:t> ac </a:t>
            </a:r>
            <a:r>
              <a:rPr lang="en-GB" err="1"/>
              <a:t>lacu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bibendum</a:t>
            </a:r>
            <a:r>
              <a:rPr lang="en-GB"/>
              <a:t> tempus </a:t>
            </a:r>
            <a:r>
              <a:rPr lang="en-GB" err="1"/>
              <a:t>turpi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nenatis</a:t>
            </a:r>
            <a:r>
              <a:rPr lang="en-GB"/>
              <a:t>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blandit</a:t>
            </a:r>
            <a:r>
              <a:rPr lang="en-GB"/>
              <a:t>.</a:t>
            </a:r>
          </a:p>
          <a:p>
            <a:pPr lvl="0"/>
            <a:r>
              <a:rPr lang="en-GB" err="1"/>
              <a:t>Vivamus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sem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in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, </a:t>
            </a:r>
            <a:r>
              <a:rPr lang="en-GB" err="1"/>
              <a:t>dapibus</a:t>
            </a:r>
            <a:r>
              <a:rPr lang="en-GB"/>
              <a:t> porta </a:t>
            </a:r>
            <a:r>
              <a:rPr lang="en-GB" err="1"/>
              <a:t>lectus</a:t>
            </a:r>
            <a:r>
              <a:rPr lang="en-GB"/>
              <a:t>. Cras pharetra nisi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sem</a:t>
            </a:r>
            <a:r>
              <a:rPr lang="en-GB"/>
              <a:t> maximus porta. Aenean et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risus</a:t>
            </a:r>
            <a:r>
              <a:rPr lang="en-GB"/>
              <a:t>. Maecenas a </a:t>
            </a:r>
            <a:r>
              <a:rPr lang="en-GB" err="1"/>
              <a:t>egestas</a:t>
            </a:r>
            <a:r>
              <a:rPr lang="en-GB"/>
              <a:t> </a:t>
            </a:r>
            <a:r>
              <a:rPr lang="en-GB" err="1"/>
              <a:t>massa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pretium</a:t>
            </a:r>
            <a:r>
              <a:rPr lang="en-GB"/>
              <a:t> ante,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efficitur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lacinia a. Sed id ex a </a:t>
            </a:r>
            <a:r>
              <a:rPr lang="en-GB" err="1"/>
              <a:t>neque</a:t>
            </a:r>
            <a:r>
              <a:rPr lang="en-GB"/>
              <a:t> </a:t>
            </a:r>
            <a:r>
              <a:rPr lang="en-GB" err="1"/>
              <a:t>aliquet</a:t>
            </a:r>
            <a:r>
              <a:rPr lang="en-GB"/>
              <a:t> porta vitae vitae diam. Sed vitae ante et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. Vestibulum </a:t>
            </a:r>
            <a:r>
              <a:rPr lang="en-GB" err="1"/>
              <a:t>enim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commodo</a:t>
            </a:r>
            <a:r>
              <a:rPr lang="en-GB"/>
              <a:t> in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malesuada</a:t>
            </a:r>
            <a:r>
              <a:rPr lang="en-GB"/>
              <a:t>, </a:t>
            </a:r>
            <a:r>
              <a:rPr lang="en-GB" err="1"/>
              <a:t>pretium</a:t>
            </a:r>
            <a:r>
              <a:rPr lang="en-GB"/>
              <a:t> porta </a:t>
            </a:r>
            <a:r>
              <a:rPr lang="en-GB" err="1"/>
              <a:t>arcu</a:t>
            </a:r>
            <a:r>
              <a:rPr lang="en-GB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546053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3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7193107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7188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DE5E48-A940-F13A-0D6A-1444B4C133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3" y="1667106"/>
            <a:ext cx="3337741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Etia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sollicitudin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congue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ante a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pretiu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.</a:t>
            </a:r>
            <a:endParaRPr lang="en-N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B5979C5-D246-5E11-0E60-F5C101D3D9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6745" y="1667106"/>
            <a:ext cx="3300094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Etia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sollicitudin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congue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ante a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pretiu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.</a:t>
            </a:r>
            <a:endParaRPr lang="en-NL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3DB7C85-8595-030D-4A8A-3F626BB707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7896" y="1667105"/>
            <a:ext cx="3300094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Etia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sollicitudin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congue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ante a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pretiu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.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756033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 userDrawn="1">
          <p15:clr>
            <a:srgbClr val="FBAE40"/>
          </p15:clr>
        </p15:guide>
        <p15:guide id="9" pos="2842" userDrawn="1">
          <p15:clr>
            <a:srgbClr val="FBAE40"/>
          </p15:clr>
        </p15:guide>
        <p15:guide id="10" pos="2638" userDrawn="1">
          <p15:clr>
            <a:srgbClr val="FBAE40"/>
          </p15:clr>
        </p15:guide>
        <p15:guide id="11" pos="5065" userDrawn="1">
          <p15:clr>
            <a:srgbClr val="FBAE40"/>
          </p15:clr>
        </p15:guide>
        <p15:guide id="12" pos="4861" userDrawn="1">
          <p15:clr>
            <a:srgbClr val="FBAE40"/>
          </p15:clr>
        </p15:guide>
        <p15:guide id="13" pos="526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4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8128144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81394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DE5E48-A940-F13A-0D6A-1444B4C133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2366192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B5979C5-D246-5E11-0E60-F5C101D3D9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4720" y="1667106"/>
            <a:ext cx="2317430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 err="1"/>
              <a:t>cra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ligula diam. Vestibulum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ipsum. In convallis ac </a:t>
            </a:r>
            <a:r>
              <a:rPr lang="en-GB" err="1"/>
              <a:t>nibh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. Nam </a:t>
            </a:r>
            <a:r>
              <a:rPr lang="en-GB" err="1"/>
              <a:t>interdum</a:t>
            </a:r>
            <a:r>
              <a:rPr lang="en-GB"/>
              <a:t> magna </a:t>
            </a:r>
            <a:r>
              <a:rPr lang="en-GB" err="1"/>
              <a:t>orci</a:t>
            </a:r>
            <a:r>
              <a:rPr lang="en-GB"/>
              <a:t>,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 non. Nunc ligula </a:t>
            </a:r>
            <a:r>
              <a:rPr lang="en-GB" err="1"/>
              <a:t>dolor</a:t>
            </a:r>
            <a:r>
              <a:rPr lang="en-GB"/>
              <a:t>, </a:t>
            </a:r>
            <a:r>
              <a:rPr lang="en-GB" err="1"/>
              <a:t>posuere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orttitor</a:t>
            </a:r>
            <a:r>
              <a:rPr lang="en-GB"/>
              <a:t> semper, </a:t>
            </a:r>
            <a:r>
              <a:rPr lang="en-GB" err="1"/>
              <a:t>vehicula</a:t>
            </a:r>
            <a:r>
              <a:rPr lang="en-GB"/>
              <a:t> vitae </a:t>
            </a:r>
            <a:r>
              <a:rPr lang="en-GB" err="1"/>
              <a:t>qua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rna</a:t>
            </a:r>
            <a:r>
              <a:rPr lang="en-GB"/>
              <a:t>, </a:t>
            </a:r>
            <a:r>
              <a:rPr lang="en-GB" err="1"/>
              <a:t>rhoncus</a:t>
            </a:r>
            <a:r>
              <a:rPr lang="en-GB"/>
              <a:t> vitae </a:t>
            </a:r>
            <a:r>
              <a:rPr lang="en-GB" err="1"/>
              <a:t>odio</a:t>
            </a:r>
            <a:r>
              <a:rPr lang="en-GB"/>
              <a:t> in, vestibulum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Nunc et </a:t>
            </a:r>
            <a:r>
              <a:rPr lang="en-GB" err="1"/>
              <a:t>porttitor</a:t>
            </a:r>
            <a:r>
              <a:rPr lang="en-GB"/>
              <a:t> ipsum. Nunc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 maximus. </a:t>
            </a:r>
            <a:r>
              <a:rPr lang="en-GB" err="1"/>
              <a:t>Fusce</a:t>
            </a:r>
            <a:r>
              <a:rPr lang="en-GB"/>
              <a:t> cursus, nisi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, eros </a:t>
            </a:r>
            <a:r>
              <a:rPr lang="en-GB" err="1"/>
              <a:t>nibh</a:t>
            </a:r>
            <a:r>
              <a:rPr lang="en-GB"/>
              <a:t> fermentum ante, id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ligula.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</a:t>
            </a:r>
            <a:endParaRPr lang="en-NL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0173B41-F583-DC27-C9A7-CF936F7B2B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6959" y="1657581"/>
            <a:ext cx="2338707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7CCE8F1F-060A-8309-A2F2-E87A53FF36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07820" y="1657581"/>
            <a:ext cx="2378846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 err="1"/>
              <a:t>cra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ligula diam. Vestibulum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ipsum. In convallis ac </a:t>
            </a:r>
            <a:r>
              <a:rPr lang="en-GB" err="1"/>
              <a:t>nibh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. Nam </a:t>
            </a:r>
            <a:r>
              <a:rPr lang="en-GB" err="1"/>
              <a:t>interdum</a:t>
            </a:r>
            <a:r>
              <a:rPr lang="en-GB"/>
              <a:t> magna </a:t>
            </a:r>
            <a:r>
              <a:rPr lang="en-GB" err="1"/>
              <a:t>orci</a:t>
            </a:r>
            <a:r>
              <a:rPr lang="en-GB"/>
              <a:t>,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 non. Nunc ligula </a:t>
            </a:r>
            <a:r>
              <a:rPr lang="en-GB" err="1"/>
              <a:t>dolor</a:t>
            </a:r>
            <a:r>
              <a:rPr lang="en-GB"/>
              <a:t>, </a:t>
            </a:r>
            <a:r>
              <a:rPr lang="en-GB" err="1"/>
              <a:t>posuere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orttitor</a:t>
            </a:r>
            <a:r>
              <a:rPr lang="en-GB"/>
              <a:t> semper, </a:t>
            </a:r>
            <a:r>
              <a:rPr lang="en-GB" err="1"/>
              <a:t>vehicula</a:t>
            </a:r>
            <a:r>
              <a:rPr lang="en-GB"/>
              <a:t> vitae </a:t>
            </a:r>
            <a:r>
              <a:rPr lang="en-GB" err="1"/>
              <a:t>qua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rna</a:t>
            </a:r>
            <a:r>
              <a:rPr lang="en-GB"/>
              <a:t>, </a:t>
            </a:r>
            <a:r>
              <a:rPr lang="en-GB" err="1"/>
              <a:t>rhoncus</a:t>
            </a:r>
            <a:r>
              <a:rPr lang="en-GB"/>
              <a:t> vitae </a:t>
            </a:r>
            <a:r>
              <a:rPr lang="en-GB" err="1"/>
              <a:t>odio</a:t>
            </a:r>
            <a:r>
              <a:rPr lang="en-GB"/>
              <a:t> in, vestibulum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Nunc et </a:t>
            </a:r>
            <a:r>
              <a:rPr lang="en-GB" err="1"/>
              <a:t>porttitor</a:t>
            </a:r>
            <a:r>
              <a:rPr lang="en-GB"/>
              <a:t> ipsum. Nunc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 maximus. </a:t>
            </a:r>
            <a:r>
              <a:rPr lang="en-GB" err="1"/>
              <a:t>Fusce</a:t>
            </a:r>
            <a:r>
              <a:rPr lang="en-GB"/>
              <a:t> cursus, nisi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, eros </a:t>
            </a:r>
            <a:r>
              <a:rPr lang="en-GB" err="1"/>
              <a:t>nibh</a:t>
            </a:r>
            <a:r>
              <a:rPr lang="en-GB"/>
              <a:t> fermentum ante, id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ligula.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30121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 userDrawn="1">
          <p15:clr>
            <a:srgbClr val="FBAE40"/>
          </p15:clr>
        </p15:guide>
        <p15:guide id="9" pos="2230" userDrawn="1">
          <p15:clr>
            <a:srgbClr val="FBAE40"/>
          </p15:clr>
        </p15:guide>
        <p15:guide id="10" pos="2026" userDrawn="1">
          <p15:clr>
            <a:srgbClr val="FBAE40"/>
          </p15:clr>
        </p15:guide>
        <p15:guide id="11" pos="4044" userDrawn="1">
          <p15:clr>
            <a:srgbClr val="FBAE40"/>
          </p15:clr>
        </p15:guide>
        <p15:guide id="12" pos="3636" userDrawn="1">
          <p15:clr>
            <a:srgbClr val="FBAE40"/>
          </p15:clr>
        </p15:guide>
        <p15:guide id="13" pos="5450" userDrawn="1">
          <p15:clr>
            <a:srgbClr val="FBAE40"/>
          </p15:clr>
        </p15:guide>
        <p15:guide id="14" pos="5654" userDrawn="1">
          <p15:clr>
            <a:srgbClr val="FBAE40"/>
          </p15:clr>
        </p15:guide>
        <p15:guide id="15" pos="585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conen - 2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6">
            <a:extLst>
              <a:ext uri="{FF2B5EF4-FFF2-40B4-BE49-F238E27FC236}">
                <a16:creationId xmlns:a16="http://schemas.microsoft.com/office/drawing/2014/main" id="{A0E80EF2-3846-A4AF-BCC3-DA58FF52D1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DDD94450-C969-0FDF-C274-BCF048FA5A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52597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88561EB-28B6-68DC-2BE4-FACBC7E8CB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3" y="3880082"/>
            <a:ext cx="5259709" cy="225648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  <a:endParaRPr lang="en-NL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552C63E-69E9-4462-01F1-4679A1E303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6713" y="3637020"/>
            <a:ext cx="523866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400" b="0" i="0"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lvl="0"/>
            <a:r>
              <a:rPr lang="en-GB"/>
              <a:t>Heading</a:t>
            </a:r>
            <a:endParaRPr lang="en-NL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4C3AF701-00EB-0BE5-78ED-334E72B76C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2202" y="3875165"/>
            <a:ext cx="5245918" cy="225648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  <a:endParaRPr lang="en-NL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FE0DEA4-AF7D-3E1B-951D-BFED9E75E4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22681" y="3632103"/>
            <a:ext cx="522865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400" b="0" i="0"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lvl="0"/>
            <a:r>
              <a:rPr lang="en-GB"/>
              <a:t>Heading</a:t>
            </a:r>
            <a:endParaRPr lang="en-NL"/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6B2C2264-8AE7-C213-D9C8-9A22C891B00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23888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22" name="Picture Placeholder 17">
            <a:extLst>
              <a:ext uri="{FF2B5EF4-FFF2-40B4-BE49-F238E27FC236}">
                <a16:creationId xmlns:a16="http://schemas.microsoft.com/office/drawing/2014/main" id="{4835AB4E-2F96-E58E-2274-D085A4A51159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6424873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5470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  <p15:guide id="10" orient="horz" pos="2160" userDrawn="1">
          <p15:clr>
            <a:srgbClr val="FBAE40"/>
          </p15:clr>
        </p15:guide>
        <p15:guide id="11" orient="horz" pos="2364" userDrawn="1">
          <p15:clr>
            <a:srgbClr val="FBAE40"/>
          </p15:clr>
        </p15:guide>
        <p15:guide id="12" orient="horz" pos="195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conen - 3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7193107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7188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3" name="Picture Placeholder 17">
            <a:extLst>
              <a:ext uri="{FF2B5EF4-FFF2-40B4-BE49-F238E27FC236}">
                <a16:creationId xmlns:a16="http://schemas.microsoft.com/office/drawing/2014/main" id="{B5707B45-96B2-638C-EA80-65D94B016BEC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23888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3BEB385-7455-8C7C-9460-2C8D99976D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3880082"/>
            <a:ext cx="3337742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di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.</a:t>
            </a:r>
            <a:endParaRPr lang="en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198D794-3315-0B8E-A1AF-B7913FA969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6713" y="3637020"/>
            <a:ext cx="333048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16569F27-5860-9176-018C-10072AD4C6E7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10088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7E6739C-EFAC-A0E8-6EE5-F8D6D0C6A2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2434" y="3870557"/>
            <a:ext cx="3304404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di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.</a:t>
            </a:r>
            <a:endParaRPr lang="en-NL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89D8D63-BE30-CD32-9999-0E86665B94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02913" y="3627495"/>
            <a:ext cx="328174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15" name="Picture Placeholder 17">
            <a:extLst>
              <a:ext uri="{FF2B5EF4-FFF2-40B4-BE49-F238E27FC236}">
                <a16:creationId xmlns:a16="http://schemas.microsoft.com/office/drawing/2014/main" id="{E1A5F802-0121-5714-1C06-55DD780A73B9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8367713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6EEAF85-2439-FABC-E245-273CE59AA0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70059" y="3861032"/>
            <a:ext cx="3304404" cy="2130193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di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.</a:t>
            </a:r>
            <a:endParaRPr lang="en-N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6922C47-1A6D-2DE4-1D38-969EC6664CB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0538" y="3617970"/>
            <a:ext cx="328174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560387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 userDrawn="1">
          <p15:clr>
            <a:srgbClr val="FBAE40"/>
          </p15:clr>
        </p15:guide>
        <p15:guide id="15" orient="horz" pos="195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kant - Ro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375E580F-5AD3-E543-7B1A-0F636A2FC5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61242" y="0"/>
            <a:ext cx="4230757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rIns="360000" bIns="360000" anchor="b"/>
          <a:lstStyle>
            <a:lvl1pPr marL="0" indent="0" algn="r">
              <a:buNone/>
              <a:defRPr sz="1200" b="0" i="0" kern="100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nl-NL"/>
              <a:t>Klik om afbeelding</a:t>
            </a:r>
            <a:br>
              <a:rPr lang="en-NL"/>
            </a:br>
            <a:r>
              <a:rPr lang="en-NL"/>
              <a:t>toe te voegen</a:t>
            </a:r>
            <a:endParaRPr lang="nl-NL"/>
          </a:p>
        </p:txBody>
      </p:sp>
      <p:sp>
        <p:nvSpPr>
          <p:cNvPr id="34" name="Shape">
            <a:extLst>
              <a:ext uri="{FF2B5EF4-FFF2-40B4-BE49-F238E27FC236}">
                <a16:creationId xmlns:a16="http://schemas.microsoft.com/office/drawing/2014/main" id="{D8CDA9A5-8E5B-32F6-01D9-008A4A3D5CD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  <a:moveTo>
                  <a:pt x="16026" y="400"/>
                </a:moveTo>
                <a:lnTo>
                  <a:pt x="21117" y="400"/>
                </a:lnTo>
                <a:cubicBezTo>
                  <a:pt x="21155" y="400"/>
                  <a:pt x="21185" y="400"/>
                  <a:pt x="21210" y="402"/>
                </a:cubicBezTo>
                <a:cubicBezTo>
                  <a:pt x="21234" y="405"/>
                  <a:pt x="21253" y="411"/>
                  <a:pt x="21268" y="422"/>
                </a:cubicBezTo>
                <a:cubicBezTo>
                  <a:pt x="21290" y="437"/>
                  <a:pt x="21310" y="459"/>
                  <a:pt x="21326" y="488"/>
                </a:cubicBezTo>
                <a:cubicBezTo>
                  <a:pt x="21342" y="516"/>
                  <a:pt x="21354" y="551"/>
                  <a:pt x="21362" y="589"/>
                </a:cubicBezTo>
                <a:cubicBezTo>
                  <a:pt x="21369" y="616"/>
                  <a:pt x="21372" y="650"/>
                  <a:pt x="21374" y="694"/>
                </a:cubicBezTo>
                <a:cubicBezTo>
                  <a:pt x="21375" y="737"/>
                  <a:pt x="21375" y="791"/>
                  <a:pt x="21375" y="859"/>
                </a:cubicBezTo>
                <a:lnTo>
                  <a:pt x="21375" y="20741"/>
                </a:lnTo>
                <a:cubicBezTo>
                  <a:pt x="21375" y="20809"/>
                  <a:pt x="21375" y="20863"/>
                  <a:pt x="21374" y="20906"/>
                </a:cubicBezTo>
                <a:cubicBezTo>
                  <a:pt x="21372" y="20950"/>
                  <a:pt x="21369" y="20984"/>
                  <a:pt x="21362" y="21011"/>
                </a:cubicBezTo>
                <a:cubicBezTo>
                  <a:pt x="21354" y="21049"/>
                  <a:pt x="21342" y="21084"/>
                  <a:pt x="21326" y="21112"/>
                </a:cubicBezTo>
                <a:cubicBezTo>
                  <a:pt x="21310" y="21141"/>
                  <a:pt x="21290" y="21163"/>
                  <a:pt x="21268" y="21178"/>
                </a:cubicBezTo>
                <a:cubicBezTo>
                  <a:pt x="21253" y="21189"/>
                  <a:pt x="21234" y="21195"/>
                  <a:pt x="21210" y="21198"/>
                </a:cubicBezTo>
                <a:cubicBezTo>
                  <a:pt x="21185" y="21200"/>
                  <a:pt x="21155" y="21200"/>
                  <a:pt x="21117" y="21200"/>
                </a:cubicBezTo>
                <a:lnTo>
                  <a:pt x="14935" y="21200"/>
                </a:lnTo>
                <a:lnTo>
                  <a:pt x="14359" y="16154"/>
                </a:lnTo>
                <a:cubicBezTo>
                  <a:pt x="15183" y="14487"/>
                  <a:pt x="15816" y="12506"/>
                  <a:pt x="16194" y="10311"/>
                </a:cubicBezTo>
                <a:cubicBezTo>
                  <a:pt x="16752" y="7064"/>
                  <a:pt x="16693" y="3581"/>
                  <a:pt x="16026" y="40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90000"/>
              </a:lnSpc>
              <a:defRPr sz="4000" b="1">
                <a:solidFill>
                  <a:schemeClr val="accent6"/>
                </a:solidFill>
                <a:latin typeface="+mn-lt"/>
                <a:ea typeface="+mn-ea"/>
                <a:cs typeface="+mn-cs"/>
                <a:sym typeface="BricolageGrotesque-96ptExtraBold_Bold"/>
              </a:defRPr>
            </a:pPr>
            <a:endParaRPr/>
          </a:p>
        </p:txBody>
      </p:sp>
      <p:sp>
        <p:nvSpPr>
          <p:cNvPr id="35" name="Shape">
            <a:extLst>
              <a:ext uri="{FF2B5EF4-FFF2-40B4-BE49-F238E27FC236}">
                <a16:creationId xmlns:a16="http://schemas.microsoft.com/office/drawing/2014/main" id="{8353F255-649E-967B-F928-E4182EB432E1}"/>
              </a:ext>
            </a:extLst>
          </p:cNvPr>
          <p:cNvSpPr/>
          <p:nvPr userDrawn="1"/>
        </p:nvSpPr>
        <p:spPr>
          <a:xfrm>
            <a:off x="127000" y="127000"/>
            <a:ext cx="9013431" cy="66040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349" y="0"/>
                </a:moveTo>
                <a:cubicBezTo>
                  <a:pt x="298" y="0"/>
                  <a:pt x="256" y="0"/>
                  <a:pt x="223" y="3"/>
                </a:cubicBezTo>
                <a:cubicBezTo>
                  <a:pt x="190" y="6"/>
                  <a:pt x="165" y="12"/>
                  <a:pt x="144" y="24"/>
                </a:cubicBezTo>
                <a:cubicBezTo>
                  <a:pt x="115" y="38"/>
                  <a:pt x="88" y="62"/>
                  <a:pt x="67" y="91"/>
                </a:cubicBezTo>
                <a:cubicBezTo>
                  <a:pt x="45" y="121"/>
                  <a:pt x="28" y="157"/>
                  <a:pt x="17" y="197"/>
                </a:cubicBezTo>
                <a:cubicBezTo>
                  <a:pt x="9" y="225"/>
                  <a:pt x="4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4" y="21340"/>
                  <a:pt x="9" y="21375"/>
                  <a:pt x="17" y="21403"/>
                </a:cubicBezTo>
                <a:cubicBezTo>
                  <a:pt x="28" y="21443"/>
                  <a:pt x="45" y="21479"/>
                  <a:pt x="67" y="21509"/>
                </a:cubicBezTo>
                <a:cubicBezTo>
                  <a:pt x="88" y="21538"/>
                  <a:pt x="115" y="21562"/>
                  <a:pt x="144" y="21576"/>
                </a:cubicBezTo>
                <a:cubicBezTo>
                  <a:pt x="165" y="21588"/>
                  <a:pt x="190" y="21594"/>
                  <a:pt x="223" y="21597"/>
                </a:cubicBezTo>
                <a:cubicBezTo>
                  <a:pt x="223" y="21597"/>
                  <a:pt x="224" y="21597"/>
                  <a:pt x="224" y="21597"/>
                </a:cubicBezTo>
                <a:cubicBezTo>
                  <a:pt x="257" y="21600"/>
                  <a:pt x="298" y="21600"/>
                  <a:pt x="349" y="21600"/>
                </a:cubicBezTo>
                <a:cubicBezTo>
                  <a:pt x="349" y="21600"/>
                  <a:pt x="349" y="21600"/>
                  <a:pt x="349" y="21600"/>
                </a:cubicBezTo>
                <a:lnTo>
                  <a:pt x="10675" y="21600"/>
                </a:lnTo>
                <a:lnTo>
                  <a:pt x="12452" y="21600"/>
                </a:lnTo>
                <a:cubicBezTo>
                  <a:pt x="12503" y="21600"/>
                  <a:pt x="12543" y="21600"/>
                  <a:pt x="12577" y="21597"/>
                </a:cubicBezTo>
                <a:cubicBezTo>
                  <a:pt x="12592" y="21596"/>
                  <a:pt x="12602" y="21590"/>
                  <a:pt x="12614" y="21587"/>
                </a:cubicBezTo>
                <a:lnTo>
                  <a:pt x="12616" y="21593"/>
                </a:lnTo>
                <a:cubicBezTo>
                  <a:pt x="13898" y="21210"/>
                  <a:pt x="15105" y="20552"/>
                  <a:pt x="16201" y="19665"/>
                </a:cubicBezTo>
                <a:cubicBezTo>
                  <a:pt x="17296" y="18778"/>
                  <a:pt x="18281" y="17661"/>
                  <a:pt x="19119" y="16360"/>
                </a:cubicBezTo>
                <a:lnTo>
                  <a:pt x="16688" y="6"/>
                </a:lnTo>
                <a:lnTo>
                  <a:pt x="12579" y="2"/>
                </a:lnTo>
                <a:lnTo>
                  <a:pt x="12579" y="4"/>
                </a:lnTo>
                <a:cubicBezTo>
                  <a:pt x="12578" y="3"/>
                  <a:pt x="12578" y="3"/>
                  <a:pt x="12577" y="3"/>
                </a:cubicBezTo>
                <a:cubicBezTo>
                  <a:pt x="12543" y="0"/>
                  <a:pt x="12503" y="0"/>
                  <a:pt x="12452" y="0"/>
                </a:cubicBezTo>
                <a:lnTo>
                  <a:pt x="7327" y="0"/>
                </a:lnTo>
                <a:lnTo>
                  <a:pt x="349" y="0"/>
                </a:lnTo>
                <a:close/>
                <a:moveTo>
                  <a:pt x="19119" y="16360"/>
                </a:moveTo>
                <a:lnTo>
                  <a:pt x="21600" y="10292"/>
                </a:lnTo>
                <a:lnTo>
                  <a:pt x="19119" y="16360"/>
                </a:ln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8599E69-5CE2-F57F-67C0-415CCB6CA917}"/>
              </a:ext>
            </a:extLst>
          </p:cNvPr>
          <p:cNvSpPr>
            <a:spLocks noChangeAspect="1"/>
          </p:cNvSpPr>
          <p:nvPr userDrawn="1"/>
        </p:nvSpPr>
        <p:spPr>
          <a:xfrm>
            <a:off x="8995282" y="96642"/>
            <a:ext cx="90000" cy="900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63628C5-3487-C50E-BE4F-B4853FEE1D83}"/>
              </a:ext>
            </a:extLst>
          </p:cNvPr>
          <p:cNvSpPr>
            <a:spLocks noChangeAspect="1"/>
          </p:cNvSpPr>
          <p:nvPr userDrawn="1"/>
        </p:nvSpPr>
        <p:spPr>
          <a:xfrm>
            <a:off x="5402931" y="6671358"/>
            <a:ext cx="90000" cy="900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EAE8916E-2232-9A74-B691-B5C0A3D62B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953222"/>
            <a:ext cx="1421476" cy="314718"/>
          </a:xfrm>
          <a:prstGeom prst="rect">
            <a:avLst/>
          </a:prstGeom>
        </p:spPr>
      </p:pic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A23B22FF-8652-1C93-E080-0A61DCDD4B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2561613"/>
            <a:ext cx="5248419" cy="2862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Naam van document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921747EF-2F13-1756-24F4-186E95210E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2857921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FEFA122-C2A5-753E-616B-15DB01B0BC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827" y="6081353"/>
            <a:ext cx="5248419" cy="2308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© Esprit ICT - 2024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47861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conen - 4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8128144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81394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70BE5C7-2CD3-893F-D105-91A9AEFB5A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3880082"/>
            <a:ext cx="2366191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</a:t>
            </a:r>
            <a:endParaRPr lang="en-NL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BA3E204-6150-529E-7E14-1B16E289AD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6713" y="3637020"/>
            <a:ext cx="2366191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EAD2237-42DE-CDE6-5B9C-C73AD88CB1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32473" y="3862358"/>
            <a:ext cx="2339677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</a:t>
            </a:r>
            <a:endParaRPr lang="en-NL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7378FD08-87C8-87D2-E768-2BB71B6338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2953" y="3619296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081A37B-1AED-2F08-FA25-69627CE1E4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24532" y="3872991"/>
            <a:ext cx="2327343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</a:t>
            </a:r>
            <a:endParaRPr lang="en-N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A3AD02F-B8B5-295C-11FC-548827D186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5012" y="3629929"/>
            <a:ext cx="2320086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0F82DF2-6BE8-BF38-819E-07BD61E02A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0771" y="3855267"/>
            <a:ext cx="2339677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</a:t>
            </a:r>
            <a:endParaRPr lang="en-NL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C41C90D-B8FE-1D97-68F2-49CA92C3E0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21251" y="361220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16303B06-CBCB-2013-479F-0799BE907E9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23888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22" name="Picture Placeholder 17">
            <a:extLst>
              <a:ext uri="{FF2B5EF4-FFF2-40B4-BE49-F238E27FC236}">
                <a16:creationId xmlns:a16="http://schemas.microsoft.com/office/drawing/2014/main" id="{4DC85385-0A58-894A-13BD-C86DD6DE169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545353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23" name="Picture Placeholder 17">
            <a:extLst>
              <a:ext uri="{FF2B5EF4-FFF2-40B4-BE49-F238E27FC236}">
                <a16:creationId xmlns:a16="http://schemas.microsoft.com/office/drawing/2014/main" id="{3617FBD2-BB51-37DB-8013-E3A4753F468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9315670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A23A3ED5-6F93-AA8A-8606-FB6B50BE91C9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6424873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4465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54">
          <p15:clr>
            <a:srgbClr val="FBAE40"/>
          </p15:clr>
        </p15:guide>
        <p15:guide id="15" pos="5858">
          <p15:clr>
            <a:srgbClr val="FBAE40"/>
          </p15:clr>
        </p15:guide>
        <p15:guide id="16" orient="horz" pos="1956" userDrawn="1">
          <p15:clr>
            <a:srgbClr val="FBAE40"/>
          </p15:clr>
        </p15:guide>
        <p15:guide id="17" orient="horz" pos="2160" userDrawn="1">
          <p15:clr>
            <a:srgbClr val="FBAE40"/>
          </p15:clr>
        </p15:guide>
        <p15:guide id="18" orient="horz" pos="2364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conen - 4Bloc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2379983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23799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0F82DF2-6BE8-BF38-819E-07BD61E02A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0771" y="4475999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C41C90D-B8FE-1D97-68F2-49CA92C3E0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21251" y="4232936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429077A-6D0D-2387-F957-5222A2219A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13049" y="1672549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D8A5329-7D83-075F-0814-D15E4D4666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3529" y="1429486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00B19E9-F03C-647D-3393-72DE0FE0FB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42257" y="4468908"/>
            <a:ext cx="2321955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84119AF7-3B54-20BA-D9BE-CFA31FEA83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32737" y="422584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7DF986CF-979A-4D59-16FA-285D063863E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24535" y="1665458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BCC51BA-5FCE-A491-B6D0-20DEA87610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15015" y="142239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DCCEE7D-5EE1-8B76-37AB-7FA654639D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2366192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F8D5A429-00A3-3061-8A26-DE4F2B7B5C9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419850" y="957435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30" name="Picture Placeholder 17">
            <a:extLst>
              <a:ext uri="{FF2B5EF4-FFF2-40B4-BE49-F238E27FC236}">
                <a16:creationId xmlns:a16="http://schemas.microsoft.com/office/drawing/2014/main" id="{3817EE44-6B80-9280-BF98-14E861A48F7F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9310973" y="957435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33" name="Picture Placeholder 17">
            <a:extLst>
              <a:ext uri="{FF2B5EF4-FFF2-40B4-BE49-F238E27FC236}">
                <a16:creationId xmlns:a16="http://schemas.microsoft.com/office/drawing/2014/main" id="{04B2207D-4322-8DE6-6AB7-BD4F3A5FD6CC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6419850" y="3750969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34" name="Picture Placeholder 17">
            <a:extLst>
              <a:ext uri="{FF2B5EF4-FFF2-40B4-BE49-F238E27FC236}">
                <a16:creationId xmlns:a16="http://schemas.microsoft.com/office/drawing/2014/main" id="{AC1A4847-C64E-CB19-7269-25938405396C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9302584" y="3750969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4149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 userDrawn="1">
          <p15:clr>
            <a:srgbClr val="FBAE40"/>
          </p15:clr>
        </p15:guide>
        <p15:guide id="13" pos="5450">
          <p15:clr>
            <a:srgbClr val="FBAE40"/>
          </p15:clr>
        </p15:guide>
        <p15:guide id="14" pos="5654">
          <p15:clr>
            <a:srgbClr val="FBAE40"/>
          </p15:clr>
        </p15:guide>
        <p15:guide id="15" pos="5858">
          <p15:clr>
            <a:srgbClr val="FBAE40"/>
          </p15:clr>
        </p15:guide>
        <p15:guide id="16" orient="horz" pos="1956">
          <p15:clr>
            <a:srgbClr val="FBAE40"/>
          </p15:clr>
        </p15:guide>
        <p15:guide id="17" orient="horz" pos="2160">
          <p15:clr>
            <a:srgbClr val="FBAE40"/>
          </p15:clr>
        </p15:guide>
        <p15:guide id="18" orient="horz" pos="236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conen - 6Bloc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2379983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23799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0F82DF2-6BE8-BF38-819E-07BD61E02A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0771" y="4475999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C41C90D-B8FE-1D97-68F2-49CA92C3E0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21251" y="4232936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429077A-6D0D-2387-F957-5222A2219A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13049" y="1672549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D8A5329-7D83-075F-0814-D15E4D4666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3529" y="1429486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00B19E9-F03C-647D-3393-72DE0FE0FB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42257" y="4468908"/>
            <a:ext cx="2321955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84119AF7-3B54-20BA-D9BE-CFA31FEA83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32737" y="422584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7DF986CF-979A-4D59-16FA-285D063863E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24535" y="1665458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BCC51BA-5FCE-A491-B6D0-20DEA87610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15015" y="142239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DCCEE7D-5EE1-8B76-37AB-7FA654639D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2366192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F8D5A429-00A3-3061-8A26-DE4F2B7B5C9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419850" y="957435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30" name="Picture Placeholder 17">
            <a:extLst>
              <a:ext uri="{FF2B5EF4-FFF2-40B4-BE49-F238E27FC236}">
                <a16:creationId xmlns:a16="http://schemas.microsoft.com/office/drawing/2014/main" id="{3817EE44-6B80-9280-BF98-14E861A48F7F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9310973" y="957435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33" name="Picture Placeholder 17">
            <a:extLst>
              <a:ext uri="{FF2B5EF4-FFF2-40B4-BE49-F238E27FC236}">
                <a16:creationId xmlns:a16="http://schemas.microsoft.com/office/drawing/2014/main" id="{04B2207D-4322-8DE6-6AB7-BD4F3A5FD6CC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6419850" y="3750969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34" name="Picture Placeholder 17">
            <a:extLst>
              <a:ext uri="{FF2B5EF4-FFF2-40B4-BE49-F238E27FC236}">
                <a16:creationId xmlns:a16="http://schemas.microsoft.com/office/drawing/2014/main" id="{AC1A4847-C64E-CB19-7269-25938405396C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9302584" y="3750969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1624B3E-47C4-0AA5-BD73-BAF31D0EF65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460157" y="4459468"/>
            <a:ext cx="2321955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2C5468F-B8B5-82C7-8A79-CE3FB10A2E6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450637" y="421640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3F60FD6-6F33-B8B8-0A54-35214A6E7F8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42435" y="1656018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3E8919A-426E-E209-9624-4E6F4392ED8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432915" y="141295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4F741FA4-50E3-E917-98CB-0396FE0D8D0C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3537750" y="947995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11" name="Picture Placeholder 17">
            <a:extLst>
              <a:ext uri="{FF2B5EF4-FFF2-40B4-BE49-F238E27FC236}">
                <a16:creationId xmlns:a16="http://schemas.microsoft.com/office/drawing/2014/main" id="{FA5A9C34-7A73-C02D-97C6-B530C935FAA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537750" y="3741529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1738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54">
          <p15:clr>
            <a:srgbClr val="FBAE40"/>
          </p15:clr>
        </p15:guide>
        <p15:guide id="15" pos="5858">
          <p15:clr>
            <a:srgbClr val="FBAE40"/>
          </p15:clr>
        </p15:guide>
        <p15:guide id="16" orient="horz" pos="1956">
          <p15:clr>
            <a:srgbClr val="FBAE40"/>
          </p15:clr>
        </p15:guide>
        <p15:guide id="17" orient="horz" pos="2160">
          <p15:clr>
            <a:srgbClr val="FBAE40"/>
          </p15:clr>
        </p15:guide>
        <p15:guide id="18" orient="horz" pos="236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somm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524841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DCCEE7D-5EE1-8B76-37AB-7FA654639D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5245916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0AE1693-66F3-0157-ED02-C6ED4AF41F9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67155" y="1017775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7BB7D7C-1A02-020C-AE65-FADD880D10C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67155" y="1666687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0EE27996-FDC0-773C-9485-B75ACEB5BD7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67155" y="5560157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AC6DAB45-05E3-CEAA-109C-6F5353291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67155" y="4911247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F5BDA82E-997A-EB27-429F-786F68CF1FC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67155" y="4262335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45E8A077-C227-DED4-A173-BA4BA2F39E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967155" y="3613423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31501069-B313-623D-C63D-5B8F22C0BF6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967155" y="2964511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47AE258B-51FD-FC35-EEAB-8289C47DB72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967155" y="2315599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526542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54">
          <p15:clr>
            <a:srgbClr val="FBAE40"/>
          </p15:clr>
        </p15:guide>
        <p15:guide id="15" pos="5858">
          <p15:clr>
            <a:srgbClr val="FBAE40"/>
          </p15:clr>
        </p15:guide>
        <p15:guide id="16" orient="horz" pos="1956">
          <p15:clr>
            <a:srgbClr val="FBAE40"/>
          </p15:clr>
        </p15:guide>
        <p15:guide id="17" orient="horz" pos="2160">
          <p15:clr>
            <a:srgbClr val="FBAE40"/>
          </p15:clr>
        </p15:guide>
        <p15:guide id="18" orient="horz" pos="236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1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6">
            <a:extLst>
              <a:ext uri="{FF2B5EF4-FFF2-40B4-BE49-F238E27FC236}">
                <a16:creationId xmlns:a16="http://schemas.microsoft.com/office/drawing/2014/main" id="{A0E80EF2-3846-A4AF-BCC3-DA58FF52D1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DDD94450-C969-0FDF-C274-BCF048FA5A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52597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88561EB-28B6-68DC-2BE4-FACBC7E8CB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3" y="1667106"/>
            <a:ext cx="5259709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 Ut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. Donec maximus </a:t>
            </a:r>
            <a:r>
              <a:rPr lang="en-GB" err="1"/>
              <a:t>leo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egestas</a:t>
            </a:r>
            <a:r>
              <a:rPr lang="en-GB"/>
              <a:t>. Morbi id </a:t>
            </a:r>
            <a:r>
              <a:rPr lang="en-GB" err="1"/>
              <a:t>sem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non at </a:t>
            </a:r>
            <a:r>
              <a:rPr lang="en-GB" err="1"/>
              <a:t>turpis</a:t>
            </a:r>
            <a:r>
              <a:rPr lang="en-GB"/>
              <a:t>. Nam id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.</a:t>
            </a:r>
          </a:p>
          <a:p>
            <a:pPr lvl="0"/>
            <a:r>
              <a:rPr lang="en-GB"/>
              <a:t>Cras sit </a:t>
            </a:r>
            <a:r>
              <a:rPr lang="en-GB" err="1"/>
              <a:t>amet</a:t>
            </a:r>
            <a:r>
              <a:rPr lang="en-GB"/>
              <a:t> ligula diam. Vestibulum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ipsum. In convallis ac </a:t>
            </a:r>
            <a:r>
              <a:rPr lang="en-GB" err="1"/>
              <a:t>nibh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. Nam </a:t>
            </a:r>
            <a:r>
              <a:rPr lang="en-GB" err="1"/>
              <a:t>interdum</a:t>
            </a:r>
            <a:r>
              <a:rPr lang="en-GB"/>
              <a:t> magna </a:t>
            </a:r>
            <a:r>
              <a:rPr lang="en-GB" err="1"/>
              <a:t>orci</a:t>
            </a:r>
            <a:r>
              <a:rPr lang="en-GB"/>
              <a:t>,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 non. Nunc ligula </a:t>
            </a:r>
            <a:r>
              <a:rPr lang="en-GB" err="1"/>
              <a:t>dolor</a:t>
            </a:r>
            <a:r>
              <a:rPr lang="en-GB"/>
              <a:t>, </a:t>
            </a:r>
            <a:r>
              <a:rPr lang="en-GB" err="1"/>
              <a:t>posseru</a:t>
            </a:r>
            <a:endParaRPr lang="en-NL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E010313-DF27-73DD-2882-1E3ABDB602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19850" y="620713"/>
            <a:ext cx="5148263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9690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3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E8F3C941-9209-56F6-EF53-C65BFE2112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2" y="848432"/>
            <a:ext cx="3351532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C0F860A4-DDE0-0793-0535-E58ABD3921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33515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F93AC2-8864-BAC7-12DA-0D8E79997E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3" y="1667106"/>
            <a:ext cx="3337741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Etia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sollicitudin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congue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ante a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pretiu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.</a:t>
            </a:r>
            <a:endParaRPr lang="en-NL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C6193564-1C60-3054-3A29-749F0BF438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27907" y="620712"/>
            <a:ext cx="2127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BFBA198D-7ED6-84EE-7009-576091CD813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79357" y="620713"/>
            <a:ext cx="2127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B462E001-F48D-55C1-2232-EBCD2B1C2F2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440513" y="620711"/>
            <a:ext cx="2127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3021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>
          <p15:clr>
            <a:srgbClr val="FBAE40"/>
          </p15:clr>
        </p15:guide>
        <p15:guide id="15" orient="horz" pos="195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1Rechtson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5824" y="22937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7193107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7188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19BCA861-5737-9F3A-45B2-BA1F9EF8867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11675" y="3105150"/>
            <a:ext cx="7056438" cy="3132138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D3EC76-A842-9400-0F0C-8A1BB86565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4203762"/>
            <a:ext cx="3337742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di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.</a:t>
            </a:r>
            <a:endParaRPr lang="en-N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C1B0B98-A43D-6012-56CC-EFF122D565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6713" y="3960700"/>
            <a:ext cx="333048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309395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 userDrawn="1">
          <p15:clr>
            <a:srgbClr val="FBAE40"/>
          </p15:clr>
        </p15:guide>
        <p15:guide id="15" orient="horz" pos="195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Opsomm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5824" y="22937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7193107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7188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19BCA861-5737-9F3A-45B2-BA1F9EF8867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3888" y="2220259"/>
            <a:ext cx="3223309" cy="2417482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D3EC76-A842-9400-0F0C-8A1BB86565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5105165"/>
            <a:ext cx="3337742" cy="12179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</a:t>
            </a:r>
            <a:endParaRPr lang="en-N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C1B0B98-A43D-6012-56CC-EFF122D565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6713" y="4862103"/>
            <a:ext cx="333048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38D97AEF-D3A0-A7FF-54FC-BFA28717E99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10084" y="2198488"/>
            <a:ext cx="3223309" cy="2417482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C0E4E0DC-B823-AE67-7208-1E6BB8EE98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12430" y="5083394"/>
            <a:ext cx="3337742" cy="12179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</a:t>
            </a:r>
            <a:endParaRPr lang="en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F8E37B2-4546-9F9C-BA13-9071E9C0BE8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2909" y="4840332"/>
            <a:ext cx="333048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ADC9E47-0099-F094-1EBB-887116D0B01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67250" y="2198488"/>
            <a:ext cx="3223309" cy="2417482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1783D1E-7038-21F4-525C-E4ECFD8FF5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9596" y="5083394"/>
            <a:ext cx="3337742" cy="12179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</a:t>
            </a:r>
            <a:endParaRPr lang="en-NL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3F36F91-6448-A7C8-29D9-AFDA1769E5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0075" y="4840332"/>
            <a:ext cx="333048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12962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>
          <p15:clr>
            <a:srgbClr val="FBAE40"/>
          </p15:clr>
        </p15:guide>
        <p15:guide id="15" orient="horz" pos="195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punten - 1Blo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756BBC8F-DB97-B47B-553D-AC60DE9DE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11044382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7E58A947-B3B9-07FF-6E8F-8BB8AAC04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52597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6549856-4B9A-5CCF-1D93-BAFDD4FBD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7"/>
            <a:ext cx="5245916" cy="11852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</a:t>
            </a:r>
            <a:endParaRPr lang="en-NL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438B926-C229-C44A-34CE-7C6C85CB3504}"/>
              </a:ext>
            </a:extLst>
          </p:cNvPr>
          <p:cNvSpPr/>
          <p:nvPr userDrawn="1"/>
        </p:nvSpPr>
        <p:spPr>
          <a:xfrm>
            <a:off x="623889" y="3694127"/>
            <a:ext cx="8388350" cy="2230301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141B3401-E0DB-4890-EF42-497667C2EB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7514" y="4441175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3D2101AF-FD56-9264-4F07-7A700EBE7B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01422" y="5128864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DE75758-921F-1C96-9916-BEA665704D3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8686" y="4436623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6" name="Text Placeholder 36">
            <a:extLst>
              <a:ext uri="{FF2B5EF4-FFF2-40B4-BE49-F238E27FC236}">
                <a16:creationId xmlns:a16="http://schemas.microsoft.com/office/drawing/2014/main" id="{E63B3402-2D99-E1AB-4166-4FABBB66EB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2594" y="5124312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FA53167-3F45-F171-49FF-6E1670FFA75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26542" y="3972644"/>
            <a:ext cx="2333256" cy="1790957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chemeClr val="accent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81808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77">
          <p15:clr>
            <a:srgbClr val="FBAE40"/>
          </p15:clr>
        </p15:guide>
        <p15:guide id="15" pos="588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punten - 4Bloc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756BBC8F-DB97-B47B-553D-AC60DE9DE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2379983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7E58A947-B3B9-07FF-6E8F-8BB8AAC04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23799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6549856-4B9A-5CCF-1D93-BAFDD4FBD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2366192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0781C1AB-A1A9-77C5-2CB4-9F3A23BB6286}"/>
              </a:ext>
            </a:extLst>
          </p:cNvPr>
          <p:cNvSpPr/>
          <p:nvPr userDrawn="1"/>
        </p:nvSpPr>
        <p:spPr>
          <a:xfrm>
            <a:off x="9344882" y="943995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2" name="Text Placeholder 36">
            <a:extLst>
              <a:ext uri="{FF2B5EF4-FFF2-40B4-BE49-F238E27FC236}">
                <a16:creationId xmlns:a16="http://schemas.microsoft.com/office/drawing/2014/main" id="{AD5D0340-1B79-FE41-F2B2-27B66750AA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07236" y="1691043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tx2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€0,00</a:t>
            </a:r>
            <a:endParaRPr lang="en-NL"/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29C93CEE-16AE-2C03-540E-2877696C4B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11144" y="2378732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5D940A57-7DF4-1140-74BF-798066438903}"/>
              </a:ext>
            </a:extLst>
          </p:cNvPr>
          <p:cNvSpPr/>
          <p:nvPr userDrawn="1"/>
        </p:nvSpPr>
        <p:spPr>
          <a:xfrm>
            <a:off x="6421565" y="943996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715A5230-0DF7-D8D8-781A-5E5C54FDBC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3919" y="1691044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3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+0%</a:t>
            </a:r>
            <a:endParaRPr lang="en-NL"/>
          </a:p>
        </p:txBody>
      </p:sp>
      <p:sp>
        <p:nvSpPr>
          <p:cNvPr id="32" name="Text Placeholder 36">
            <a:extLst>
              <a:ext uri="{FF2B5EF4-FFF2-40B4-BE49-F238E27FC236}">
                <a16:creationId xmlns:a16="http://schemas.microsoft.com/office/drawing/2014/main" id="{B81F542E-7308-C9FA-2EB4-7D42CA5623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7827" y="2378733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3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1C47EF13-7789-3E03-ADEB-F33CD2CAA314}"/>
              </a:ext>
            </a:extLst>
          </p:cNvPr>
          <p:cNvSpPr/>
          <p:nvPr userDrawn="1"/>
        </p:nvSpPr>
        <p:spPr>
          <a:xfrm>
            <a:off x="9344882" y="3694126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4" name="Text Placeholder 36">
            <a:extLst>
              <a:ext uri="{FF2B5EF4-FFF2-40B4-BE49-F238E27FC236}">
                <a16:creationId xmlns:a16="http://schemas.microsoft.com/office/drawing/2014/main" id="{D8A40756-B565-6254-5F12-7FB28BB1BE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07236" y="4441174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5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-0%</a:t>
            </a:r>
            <a:endParaRPr lang="en-NL"/>
          </a:p>
        </p:txBody>
      </p:sp>
      <p:sp>
        <p:nvSpPr>
          <p:cNvPr id="35" name="Text Placeholder 36">
            <a:extLst>
              <a:ext uri="{FF2B5EF4-FFF2-40B4-BE49-F238E27FC236}">
                <a16:creationId xmlns:a16="http://schemas.microsoft.com/office/drawing/2014/main" id="{98D49377-C9A6-1DD4-2FEB-93B8A5135D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11144" y="5128863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5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FA63DEEA-4CD1-7B0A-750F-CAD4F23CD13A}"/>
              </a:ext>
            </a:extLst>
          </p:cNvPr>
          <p:cNvSpPr/>
          <p:nvPr userDrawn="1"/>
        </p:nvSpPr>
        <p:spPr>
          <a:xfrm>
            <a:off x="6428492" y="3694127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2CDF096E-33B3-DBB5-D6DD-8F7AF59979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90846" y="4441175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C3B150E1-9A36-19D4-5913-998D23AB731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94754" y="5128864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67566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77" userDrawn="1">
          <p15:clr>
            <a:srgbClr val="FBAE40"/>
          </p15:clr>
        </p15:guide>
        <p15:guide id="15" pos="588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kant -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375E580F-5AD3-E543-7B1A-0F636A2FC5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61242" y="0"/>
            <a:ext cx="4230757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rIns="360000" bIns="360000" anchor="b"/>
          <a:lstStyle>
            <a:lvl1pPr marL="0" indent="0" algn="r">
              <a:buNone/>
              <a:defRPr sz="1200" b="0" i="0" kern="100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nl-NL"/>
              <a:t>Klik om afbeelding</a:t>
            </a:r>
            <a:br>
              <a:rPr lang="en-NL"/>
            </a:br>
            <a:r>
              <a:rPr lang="en-NL"/>
              <a:t>toe te voegen</a:t>
            </a:r>
            <a:endParaRPr lang="nl-NL"/>
          </a:p>
        </p:txBody>
      </p:sp>
      <p:sp>
        <p:nvSpPr>
          <p:cNvPr id="34" name="Shape">
            <a:extLst>
              <a:ext uri="{FF2B5EF4-FFF2-40B4-BE49-F238E27FC236}">
                <a16:creationId xmlns:a16="http://schemas.microsoft.com/office/drawing/2014/main" id="{D8CDA9A5-8E5B-32F6-01D9-008A4A3D5CD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  <a:moveTo>
                  <a:pt x="16026" y="400"/>
                </a:moveTo>
                <a:lnTo>
                  <a:pt x="21117" y="400"/>
                </a:lnTo>
                <a:cubicBezTo>
                  <a:pt x="21155" y="400"/>
                  <a:pt x="21185" y="400"/>
                  <a:pt x="21210" y="402"/>
                </a:cubicBezTo>
                <a:cubicBezTo>
                  <a:pt x="21234" y="405"/>
                  <a:pt x="21253" y="411"/>
                  <a:pt x="21268" y="422"/>
                </a:cubicBezTo>
                <a:cubicBezTo>
                  <a:pt x="21290" y="437"/>
                  <a:pt x="21310" y="459"/>
                  <a:pt x="21326" y="488"/>
                </a:cubicBezTo>
                <a:cubicBezTo>
                  <a:pt x="21342" y="516"/>
                  <a:pt x="21354" y="551"/>
                  <a:pt x="21362" y="589"/>
                </a:cubicBezTo>
                <a:cubicBezTo>
                  <a:pt x="21369" y="616"/>
                  <a:pt x="21372" y="650"/>
                  <a:pt x="21374" y="694"/>
                </a:cubicBezTo>
                <a:cubicBezTo>
                  <a:pt x="21375" y="737"/>
                  <a:pt x="21375" y="791"/>
                  <a:pt x="21375" y="859"/>
                </a:cubicBezTo>
                <a:lnTo>
                  <a:pt x="21375" y="20741"/>
                </a:lnTo>
                <a:cubicBezTo>
                  <a:pt x="21375" y="20809"/>
                  <a:pt x="21375" y="20863"/>
                  <a:pt x="21374" y="20906"/>
                </a:cubicBezTo>
                <a:cubicBezTo>
                  <a:pt x="21372" y="20950"/>
                  <a:pt x="21369" y="20984"/>
                  <a:pt x="21362" y="21011"/>
                </a:cubicBezTo>
                <a:cubicBezTo>
                  <a:pt x="21354" y="21049"/>
                  <a:pt x="21342" y="21084"/>
                  <a:pt x="21326" y="21112"/>
                </a:cubicBezTo>
                <a:cubicBezTo>
                  <a:pt x="21310" y="21141"/>
                  <a:pt x="21290" y="21163"/>
                  <a:pt x="21268" y="21178"/>
                </a:cubicBezTo>
                <a:cubicBezTo>
                  <a:pt x="21253" y="21189"/>
                  <a:pt x="21234" y="21195"/>
                  <a:pt x="21210" y="21198"/>
                </a:cubicBezTo>
                <a:cubicBezTo>
                  <a:pt x="21185" y="21200"/>
                  <a:pt x="21155" y="21200"/>
                  <a:pt x="21117" y="21200"/>
                </a:cubicBezTo>
                <a:lnTo>
                  <a:pt x="14935" y="21200"/>
                </a:lnTo>
                <a:lnTo>
                  <a:pt x="14359" y="16154"/>
                </a:lnTo>
                <a:cubicBezTo>
                  <a:pt x="15183" y="14487"/>
                  <a:pt x="15816" y="12506"/>
                  <a:pt x="16194" y="10311"/>
                </a:cubicBezTo>
                <a:cubicBezTo>
                  <a:pt x="16752" y="7064"/>
                  <a:pt x="16693" y="3581"/>
                  <a:pt x="16026" y="400"/>
                </a:cubicBezTo>
                <a:close/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90000"/>
              </a:lnSpc>
              <a:defRPr sz="4000" b="1">
                <a:solidFill>
                  <a:schemeClr val="accent6"/>
                </a:solidFill>
                <a:latin typeface="+mn-lt"/>
                <a:ea typeface="+mn-ea"/>
                <a:cs typeface="+mn-cs"/>
                <a:sym typeface="BricolageGrotesque-96ptExtraBold_Bold"/>
              </a:defRPr>
            </a:pPr>
            <a:endParaRPr/>
          </a:p>
        </p:txBody>
      </p:sp>
      <p:sp>
        <p:nvSpPr>
          <p:cNvPr id="35" name="Shape">
            <a:extLst>
              <a:ext uri="{FF2B5EF4-FFF2-40B4-BE49-F238E27FC236}">
                <a16:creationId xmlns:a16="http://schemas.microsoft.com/office/drawing/2014/main" id="{8353F255-649E-967B-F928-E4182EB432E1}"/>
              </a:ext>
            </a:extLst>
          </p:cNvPr>
          <p:cNvSpPr/>
          <p:nvPr userDrawn="1"/>
        </p:nvSpPr>
        <p:spPr>
          <a:xfrm>
            <a:off x="127000" y="127000"/>
            <a:ext cx="9013431" cy="66024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349" y="0"/>
                </a:moveTo>
                <a:cubicBezTo>
                  <a:pt x="298" y="0"/>
                  <a:pt x="256" y="0"/>
                  <a:pt x="223" y="3"/>
                </a:cubicBezTo>
                <a:cubicBezTo>
                  <a:pt x="190" y="6"/>
                  <a:pt x="165" y="12"/>
                  <a:pt x="144" y="24"/>
                </a:cubicBezTo>
                <a:cubicBezTo>
                  <a:pt x="115" y="38"/>
                  <a:pt x="88" y="62"/>
                  <a:pt x="67" y="91"/>
                </a:cubicBezTo>
                <a:cubicBezTo>
                  <a:pt x="45" y="121"/>
                  <a:pt x="28" y="157"/>
                  <a:pt x="17" y="197"/>
                </a:cubicBezTo>
                <a:cubicBezTo>
                  <a:pt x="9" y="225"/>
                  <a:pt x="4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4" y="21340"/>
                  <a:pt x="9" y="21375"/>
                  <a:pt x="17" y="21403"/>
                </a:cubicBezTo>
                <a:cubicBezTo>
                  <a:pt x="28" y="21443"/>
                  <a:pt x="45" y="21479"/>
                  <a:pt x="67" y="21509"/>
                </a:cubicBezTo>
                <a:cubicBezTo>
                  <a:pt x="88" y="21538"/>
                  <a:pt x="115" y="21562"/>
                  <a:pt x="144" y="21576"/>
                </a:cubicBezTo>
                <a:cubicBezTo>
                  <a:pt x="165" y="21588"/>
                  <a:pt x="190" y="21594"/>
                  <a:pt x="223" y="21597"/>
                </a:cubicBezTo>
                <a:cubicBezTo>
                  <a:pt x="223" y="21597"/>
                  <a:pt x="224" y="21597"/>
                  <a:pt x="224" y="21597"/>
                </a:cubicBezTo>
                <a:cubicBezTo>
                  <a:pt x="257" y="21600"/>
                  <a:pt x="298" y="21600"/>
                  <a:pt x="349" y="21600"/>
                </a:cubicBezTo>
                <a:cubicBezTo>
                  <a:pt x="349" y="21600"/>
                  <a:pt x="349" y="21600"/>
                  <a:pt x="349" y="21600"/>
                </a:cubicBezTo>
                <a:lnTo>
                  <a:pt x="10675" y="21600"/>
                </a:lnTo>
                <a:lnTo>
                  <a:pt x="12452" y="21600"/>
                </a:lnTo>
                <a:cubicBezTo>
                  <a:pt x="12503" y="21600"/>
                  <a:pt x="12543" y="21600"/>
                  <a:pt x="12577" y="21597"/>
                </a:cubicBezTo>
                <a:cubicBezTo>
                  <a:pt x="12592" y="21596"/>
                  <a:pt x="12602" y="21590"/>
                  <a:pt x="12614" y="21587"/>
                </a:cubicBezTo>
                <a:lnTo>
                  <a:pt x="12616" y="21593"/>
                </a:lnTo>
                <a:cubicBezTo>
                  <a:pt x="13898" y="21210"/>
                  <a:pt x="15105" y="20552"/>
                  <a:pt x="16201" y="19665"/>
                </a:cubicBezTo>
                <a:cubicBezTo>
                  <a:pt x="17296" y="18778"/>
                  <a:pt x="18281" y="17661"/>
                  <a:pt x="19119" y="16360"/>
                </a:cubicBezTo>
                <a:lnTo>
                  <a:pt x="16688" y="6"/>
                </a:lnTo>
                <a:lnTo>
                  <a:pt x="12579" y="2"/>
                </a:lnTo>
                <a:lnTo>
                  <a:pt x="12579" y="4"/>
                </a:lnTo>
                <a:cubicBezTo>
                  <a:pt x="12578" y="3"/>
                  <a:pt x="12578" y="3"/>
                  <a:pt x="12577" y="3"/>
                </a:cubicBezTo>
                <a:cubicBezTo>
                  <a:pt x="12543" y="0"/>
                  <a:pt x="12503" y="0"/>
                  <a:pt x="12452" y="0"/>
                </a:cubicBezTo>
                <a:lnTo>
                  <a:pt x="7327" y="0"/>
                </a:lnTo>
                <a:lnTo>
                  <a:pt x="349" y="0"/>
                </a:lnTo>
                <a:close/>
                <a:moveTo>
                  <a:pt x="19119" y="16360"/>
                </a:moveTo>
                <a:lnTo>
                  <a:pt x="21600" y="10292"/>
                </a:lnTo>
                <a:lnTo>
                  <a:pt x="19119" y="16360"/>
                </a:ln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8599E69-5CE2-F57F-67C0-415CCB6CA917}"/>
              </a:ext>
            </a:extLst>
          </p:cNvPr>
          <p:cNvSpPr>
            <a:spLocks noChangeAspect="1"/>
          </p:cNvSpPr>
          <p:nvPr userDrawn="1"/>
        </p:nvSpPr>
        <p:spPr>
          <a:xfrm>
            <a:off x="8995282" y="96642"/>
            <a:ext cx="90000" cy="9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63628C5-3487-C50E-BE4F-B4853FEE1D83}"/>
              </a:ext>
            </a:extLst>
          </p:cNvPr>
          <p:cNvSpPr>
            <a:spLocks noChangeAspect="1"/>
          </p:cNvSpPr>
          <p:nvPr userDrawn="1"/>
        </p:nvSpPr>
        <p:spPr>
          <a:xfrm>
            <a:off x="5402931" y="6671358"/>
            <a:ext cx="90000" cy="9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EAE8916E-2232-9A74-B691-B5C0A3D62B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953222"/>
            <a:ext cx="1421476" cy="314718"/>
          </a:xfrm>
          <a:prstGeom prst="rect">
            <a:avLst/>
          </a:prstGeom>
        </p:spPr>
      </p:pic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A23B22FF-8652-1C93-E080-0A61DCDD4B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2561613"/>
            <a:ext cx="5248419" cy="2862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400">
                <a:solidFill>
                  <a:schemeClr val="accent4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Naam van document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921747EF-2F13-1756-24F4-186E95210E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2857921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4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FEFA122-C2A5-753E-616B-15DB01B0BC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827" y="6081353"/>
            <a:ext cx="5248419" cy="2308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>
                <a:solidFill>
                  <a:schemeClr val="accent4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© Esprit ICT - 2024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763483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punten - 6Bloc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756BBC8F-DB97-B47B-553D-AC60DE9DE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2379983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7E58A947-B3B9-07FF-6E8F-8BB8AAC04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23799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6549856-4B9A-5CCF-1D93-BAFDD4FBD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2366192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0781C1AB-A1A9-77C5-2CB4-9F3A23BB6286}"/>
              </a:ext>
            </a:extLst>
          </p:cNvPr>
          <p:cNvSpPr/>
          <p:nvPr userDrawn="1"/>
        </p:nvSpPr>
        <p:spPr>
          <a:xfrm>
            <a:off x="6421568" y="943995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2" name="Text Placeholder 36">
            <a:extLst>
              <a:ext uri="{FF2B5EF4-FFF2-40B4-BE49-F238E27FC236}">
                <a16:creationId xmlns:a16="http://schemas.microsoft.com/office/drawing/2014/main" id="{AD5D0340-1B79-FE41-F2B2-27B66750AA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3922" y="1691043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tx2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€0,00</a:t>
            </a:r>
            <a:endParaRPr lang="en-NL"/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29C93CEE-16AE-2C03-540E-2877696C4B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87830" y="2378732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5D940A57-7DF4-1140-74BF-798066438903}"/>
              </a:ext>
            </a:extLst>
          </p:cNvPr>
          <p:cNvSpPr/>
          <p:nvPr userDrawn="1"/>
        </p:nvSpPr>
        <p:spPr>
          <a:xfrm>
            <a:off x="3539813" y="943996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715A5230-0DF7-D8D8-781A-5E5C54FDBC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2167" y="1691044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3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+0%</a:t>
            </a:r>
            <a:endParaRPr lang="en-NL"/>
          </a:p>
        </p:txBody>
      </p:sp>
      <p:sp>
        <p:nvSpPr>
          <p:cNvPr id="32" name="Text Placeholder 36">
            <a:extLst>
              <a:ext uri="{FF2B5EF4-FFF2-40B4-BE49-F238E27FC236}">
                <a16:creationId xmlns:a16="http://schemas.microsoft.com/office/drawing/2014/main" id="{B81F542E-7308-C9FA-2EB4-7D42CA5623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06075" y="2378733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3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1C47EF13-7789-3E03-ADEB-F33CD2CAA314}"/>
              </a:ext>
            </a:extLst>
          </p:cNvPr>
          <p:cNvSpPr/>
          <p:nvPr userDrawn="1"/>
        </p:nvSpPr>
        <p:spPr>
          <a:xfrm>
            <a:off x="6428495" y="3694126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4" name="Text Placeholder 36">
            <a:extLst>
              <a:ext uri="{FF2B5EF4-FFF2-40B4-BE49-F238E27FC236}">
                <a16:creationId xmlns:a16="http://schemas.microsoft.com/office/drawing/2014/main" id="{D8A40756-B565-6254-5F12-7FB28BB1BE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0849" y="4441174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5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-0%</a:t>
            </a:r>
            <a:endParaRPr lang="en-NL"/>
          </a:p>
        </p:txBody>
      </p:sp>
      <p:sp>
        <p:nvSpPr>
          <p:cNvPr id="35" name="Text Placeholder 36">
            <a:extLst>
              <a:ext uri="{FF2B5EF4-FFF2-40B4-BE49-F238E27FC236}">
                <a16:creationId xmlns:a16="http://schemas.microsoft.com/office/drawing/2014/main" id="{98D49377-C9A6-1DD4-2FEB-93B8A5135D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94757" y="5128863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5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FA63DEEA-4CD1-7B0A-750F-CAD4F23CD13A}"/>
              </a:ext>
            </a:extLst>
          </p:cNvPr>
          <p:cNvSpPr/>
          <p:nvPr userDrawn="1"/>
        </p:nvSpPr>
        <p:spPr>
          <a:xfrm>
            <a:off x="3546740" y="3694127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2CDF096E-33B3-DBB5-D6DD-8F7AF59979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09094" y="4441175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C3B150E1-9A36-19D4-5913-998D23AB731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3002" y="5128864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121817E4-AD34-31CF-4ABB-6A5AAED1109E}"/>
              </a:ext>
            </a:extLst>
          </p:cNvPr>
          <p:cNvSpPr/>
          <p:nvPr userDrawn="1"/>
        </p:nvSpPr>
        <p:spPr>
          <a:xfrm>
            <a:off x="9337941" y="937069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011E3A5C-D5E8-9BCE-D501-1528934F57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0295" y="1684117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3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+0%</a:t>
            </a:r>
            <a:endParaRPr lang="en-NL"/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1DD52766-079B-FC80-E2ED-2D922D5452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04203" y="2371806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3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1691D06-3F95-E0B7-A510-524F28EEF949}"/>
              </a:ext>
            </a:extLst>
          </p:cNvPr>
          <p:cNvSpPr/>
          <p:nvPr userDrawn="1"/>
        </p:nvSpPr>
        <p:spPr>
          <a:xfrm>
            <a:off x="9344868" y="3687200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6" name="Text Placeholder 36">
            <a:extLst>
              <a:ext uri="{FF2B5EF4-FFF2-40B4-BE49-F238E27FC236}">
                <a16:creationId xmlns:a16="http://schemas.microsoft.com/office/drawing/2014/main" id="{23D5CF3D-FB14-FD9C-C829-EF9C514D07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7222" y="4434248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AD15071A-385E-DE94-2CAA-47892C53127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511130" y="5121937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76215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77">
          <p15:clr>
            <a:srgbClr val="FBAE40"/>
          </p15:clr>
        </p15:guide>
        <p15:guide id="15" pos="588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punten - Afbeel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ACEF86BD-45D6-F321-7225-3B8BF9B06D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9813" y="944563"/>
            <a:ext cx="5472114" cy="49688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659DB4A-DFCB-B231-8F9B-95F78F26DFC6}"/>
              </a:ext>
            </a:extLst>
          </p:cNvPr>
          <p:cNvSpPr/>
          <p:nvPr userDrawn="1"/>
        </p:nvSpPr>
        <p:spPr>
          <a:xfrm>
            <a:off x="6419850" y="944563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8FA2055C-E0ED-9B42-DC17-6353805595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2204" y="1691611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3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+0%</a:t>
            </a:r>
            <a:endParaRPr lang="en-NL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697B0301-2557-AF7E-4BA7-7C8DBCE2A1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6112" y="2379300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3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C5F10587-A5B3-0472-600A-99ACD7BE9F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27896" y="3524045"/>
            <a:ext cx="5240217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7EB1FE2E-25F3-CE48-2189-0B2E606FED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16609" y="3767413"/>
            <a:ext cx="52515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72E26A76-CCC2-9929-CA4A-5DCF874014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0399" y="4243329"/>
            <a:ext cx="5251504" cy="1759559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vel.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93928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54">
          <p15:clr>
            <a:srgbClr val="FBAE40"/>
          </p15:clr>
        </p15:guide>
        <p15:guide id="15" pos="5858">
          <p15:clr>
            <a:srgbClr val="FBAE40"/>
          </p15:clr>
        </p15:guide>
        <p15:guide id="16" orient="horz" pos="1956">
          <p15:clr>
            <a:srgbClr val="FBAE40"/>
          </p15:clr>
        </p15:guide>
        <p15:guide id="17" orient="horz" pos="2160">
          <p15:clr>
            <a:srgbClr val="FBAE40"/>
          </p15:clr>
        </p15:guide>
        <p15:guide id="18" orient="horz" pos="23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Kader, kle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2" y="848432"/>
            <a:ext cx="3340244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335153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56BEB84-B569-8FDF-945F-04BDBF421F45}"/>
              </a:ext>
            </a:extLst>
          </p:cNvPr>
          <p:cNvSpPr/>
          <p:nvPr userDrawn="1"/>
        </p:nvSpPr>
        <p:spPr>
          <a:xfrm>
            <a:off x="4511676" y="630620"/>
            <a:ext cx="7056436" cy="5606667"/>
          </a:xfrm>
          <a:prstGeom prst="roundRect">
            <a:avLst>
              <a:gd name="adj" fmla="val 1540"/>
            </a:avLst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453BC55-08EB-6176-608E-D9058BE46F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3351532" cy="306221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</a:t>
            </a:r>
            <a:endParaRPr lang="en-NL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275B98C-6663-847C-4C25-83B045EB7E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597" y="5001569"/>
            <a:ext cx="1580400" cy="679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00">
                <a:latin typeface="Caveat" pitchFamily="2" charset="0"/>
              </a:defRPr>
            </a:lvl1pPr>
          </a:lstStyle>
          <a:p>
            <a:pPr lvl="0"/>
            <a:r>
              <a:rPr lang="en-NL"/>
              <a:t>+0%</a:t>
            </a:r>
          </a:p>
        </p:txBody>
      </p:sp>
      <p:sp>
        <p:nvSpPr>
          <p:cNvPr id="28" name="Text Placeholder 36">
            <a:extLst>
              <a:ext uri="{FF2B5EF4-FFF2-40B4-BE49-F238E27FC236}">
                <a16:creationId xmlns:a16="http://schemas.microsoft.com/office/drawing/2014/main" id="{F78169F3-1D6B-4EFC-74C3-A6FBABF999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006" y="5574543"/>
            <a:ext cx="1570126" cy="4247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endParaRPr lang="en-GB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7378E3E-C9AE-2C74-7259-21F98C92D6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40978" y="4993712"/>
            <a:ext cx="1580400" cy="679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00">
                <a:latin typeface="Caveat" pitchFamily="2" charset="0"/>
              </a:defRPr>
            </a:lvl1pPr>
          </a:lstStyle>
          <a:p>
            <a:pPr lvl="0"/>
            <a:r>
              <a:rPr lang="en-NL"/>
              <a:t>+0%</a:t>
            </a:r>
          </a:p>
        </p:txBody>
      </p:sp>
      <p:sp>
        <p:nvSpPr>
          <p:cNvPr id="30" name="Text Placeholder 36">
            <a:extLst>
              <a:ext uri="{FF2B5EF4-FFF2-40B4-BE49-F238E27FC236}">
                <a16:creationId xmlns:a16="http://schemas.microsoft.com/office/drawing/2014/main" id="{C78BCD99-9118-DFB7-3CF9-409B68EA87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98387" y="5566686"/>
            <a:ext cx="1570126" cy="4247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0166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>
          <p15:clr>
            <a:srgbClr val="FBAE40"/>
          </p15:clr>
        </p15:guide>
        <p15:guide id="15" orient="horz" pos="195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Kader, gro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2" y="848432"/>
            <a:ext cx="3340244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335153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56BEB84-B569-8FDF-945F-04BDBF421F45}"/>
              </a:ext>
            </a:extLst>
          </p:cNvPr>
          <p:cNvSpPr/>
          <p:nvPr userDrawn="1"/>
        </p:nvSpPr>
        <p:spPr>
          <a:xfrm>
            <a:off x="623888" y="1981500"/>
            <a:ext cx="10944224" cy="4255788"/>
          </a:xfrm>
          <a:prstGeom prst="roundRect">
            <a:avLst>
              <a:gd name="adj" fmla="val 1540"/>
            </a:avLst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F03D6A50-AA48-81A0-8F03-E4171DB90B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87720" y="655813"/>
            <a:ext cx="1580400" cy="679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00">
                <a:latin typeface="Caveat" pitchFamily="2" charset="0"/>
              </a:defRPr>
            </a:lvl1pPr>
          </a:lstStyle>
          <a:p>
            <a:pPr lvl="0"/>
            <a:r>
              <a:rPr lang="en-NL"/>
              <a:t>+0%</a:t>
            </a:r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0E0A186C-9090-ABF8-76F1-77F0EAF29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45129" y="1228787"/>
            <a:ext cx="1570126" cy="4247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endParaRPr lang="en-GB"/>
          </a:p>
        </p:txBody>
      </p:sp>
      <p:sp>
        <p:nvSpPr>
          <p:cNvPr id="22" name="Text Placeholder 26">
            <a:extLst>
              <a:ext uri="{FF2B5EF4-FFF2-40B4-BE49-F238E27FC236}">
                <a16:creationId xmlns:a16="http://schemas.microsoft.com/office/drawing/2014/main" id="{199AF745-B534-689D-5DAF-E1D26663A3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52101" y="647956"/>
            <a:ext cx="1580400" cy="679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00">
                <a:latin typeface="Caveat" pitchFamily="2" charset="0"/>
              </a:defRPr>
            </a:lvl1pPr>
          </a:lstStyle>
          <a:p>
            <a:pPr lvl="0"/>
            <a:r>
              <a:rPr lang="en-NL"/>
              <a:t>+0%</a:t>
            </a:r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BD1CEBE1-A81E-652D-8AA0-892B2FBE23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09510" y="1220930"/>
            <a:ext cx="1570126" cy="4247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3335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>
          <p15:clr>
            <a:srgbClr val="FBAE40"/>
          </p15:clr>
        </p15:guide>
        <p15:guide id="15" orient="horz" pos="195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d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16_9_AV02-Hoofdkleur.svg" descr="16_9_AV02-Hoofdkleur.svg">
            <a:extLst>
              <a:ext uri="{FF2B5EF4-FFF2-40B4-BE49-F238E27FC236}">
                <a16:creationId xmlns:a16="http://schemas.microsoft.com/office/drawing/2014/main" id="{EE24E613-B5DC-3A5E-F278-8EC7A358DD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458" y="117000"/>
            <a:ext cx="11971084" cy="6624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A2909AE0-F190-6A50-0B33-3EE5BB4CF0F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3888" y="3195198"/>
            <a:ext cx="3389343" cy="750410"/>
          </a:xfrm>
          <a:prstGeom prst="rect">
            <a:avLst/>
          </a:prstGeom>
        </p:spPr>
      </p:pic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FF5CD5E3-865B-78EF-A26C-3C272CF4B3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827" y="6081353"/>
            <a:ext cx="5248419" cy="2308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>
                <a:solidFill>
                  <a:schemeClr val="bg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© Esprit ICT - 2024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64944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E334663A-6B23-FBD4-5B91-8EF7595B97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4A1F1C59-803D-71B5-11EF-A3F97CA1A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E1CEB03D-EE07-958B-460F-DA50118C3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053BBE-D28D-46ED-8889-A938DD4B8C1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149799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0BA50C-2C74-836D-E614-8C11914E8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20DFCB2-1414-A04E-D6EA-7303093691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0DE02B5-5EB0-D56A-C604-0969FDEF9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12D109B-995D-4740-3412-057EEA9C7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0BC0EA8-88A8-8051-2506-CBA05B4F5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053BBE-D28D-46ED-8889-A938DD4B8C1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753510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fbeelding - 3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E8F3C941-9209-56F6-EF53-C65BFE2112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2" y="848432"/>
            <a:ext cx="3351532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C0F860A4-DDE0-0793-0535-E58ABD3921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33515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558495DF-B741-E148-1051-5D55C98DD88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39439" y="620712"/>
            <a:ext cx="1983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B10AA0EE-C57C-E242-7E44-FD4B298F52B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358325" y="620712"/>
            <a:ext cx="1983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CAD5C3D4-1AB1-B796-D552-88A7327D49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477211" y="620712"/>
            <a:ext cx="1983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07DFE9A0-9101-450B-E81B-823E17A7926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596097" y="601164"/>
            <a:ext cx="1983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7495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>
          <p15:clr>
            <a:srgbClr val="FBAE40"/>
          </p15:clr>
        </p15:guide>
        <p15:guide id="15" orient="horz" pos="195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punten - 6Bloc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756BBC8F-DB97-B47B-553D-AC60DE9DE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2379983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7E58A947-B3B9-07FF-6E8F-8BB8AAC04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127623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0781C1AB-A1A9-77C5-2CB4-9F3A23BB6286}"/>
              </a:ext>
            </a:extLst>
          </p:cNvPr>
          <p:cNvSpPr/>
          <p:nvPr userDrawn="1"/>
        </p:nvSpPr>
        <p:spPr>
          <a:xfrm>
            <a:off x="6934747" y="848432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2" name="Text Placeholder 36">
            <a:extLst>
              <a:ext uri="{FF2B5EF4-FFF2-40B4-BE49-F238E27FC236}">
                <a16:creationId xmlns:a16="http://schemas.microsoft.com/office/drawing/2014/main" id="{AD5D0340-1B79-FE41-F2B2-27B66750AA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97101" y="1829852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tx2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€0,00</a:t>
            </a:r>
            <a:endParaRPr lang="en-NL"/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29C93CEE-16AE-2C03-540E-2877696C4B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01009" y="2517541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5D940A57-7DF4-1140-74BF-798066438903}"/>
              </a:ext>
            </a:extLst>
          </p:cNvPr>
          <p:cNvSpPr/>
          <p:nvPr userDrawn="1"/>
        </p:nvSpPr>
        <p:spPr>
          <a:xfrm>
            <a:off x="4531553" y="848433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715A5230-0DF7-D8D8-781A-5E5C54FDBC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93907" y="1829853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3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+0%</a:t>
            </a:r>
            <a:endParaRPr lang="en-NL"/>
          </a:p>
        </p:txBody>
      </p:sp>
      <p:sp>
        <p:nvSpPr>
          <p:cNvPr id="32" name="Text Placeholder 36">
            <a:extLst>
              <a:ext uri="{FF2B5EF4-FFF2-40B4-BE49-F238E27FC236}">
                <a16:creationId xmlns:a16="http://schemas.microsoft.com/office/drawing/2014/main" id="{B81F542E-7308-C9FA-2EB4-7D42CA5623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97815" y="2517542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3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1C47EF13-7789-3E03-ADEB-F33CD2CAA314}"/>
              </a:ext>
            </a:extLst>
          </p:cNvPr>
          <p:cNvSpPr/>
          <p:nvPr userDrawn="1"/>
        </p:nvSpPr>
        <p:spPr>
          <a:xfrm>
            <a:off x="6941674" y="3459754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4" name="Text Placeholder 36">
            <a:extLst>
              <a:ext uri="{FF2B5EF4-FFF2-40B4-BE49-F238E27FC236}">
                <a16:creationId xmlns:a16="http://schemas.microsoft.com/office/drawing/2014/main" id="{D8A40756-B565-6254-5F12-7FB28BB1BE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04028" y="4441174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5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-0%</a:t>
            </a:r>
            <a:endParaRPr lang="en-NL"/>
          </a:p>
        </p:txBody>
      </p:sp>
      <p:sp>
        <p:nvSpPr>
          <p:cNvPr id="35" name="Text Placeholder 36">
            <a:extLst>
              <a:ext uri="{FF2B5EF4-FFF2-40B4-BE49-F238E27FC236}">
                <a16:creationId xmlns:a16="http://schemas.microsoft.com/office/drawing/2014/main" id="{98D49377-C9A6-1DD4-2FEB-93B8A5135D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07936" y="5128863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5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FA63DEEA-4CD1-7B0A-750F-CAD4F23CD13A}"/>
              </a:ext>
            </a:extLst>
          </p:cNvPr>
          <p:cNvSpPr/>
          <p:nvPr userDrawn="1"/>
        </p:nvSpPr>
        <p:spPr>
          <a:xfrm>
            <a:off x="4538480" y="3459755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2CDF096E-33B3-DBB5-D6DD-8F7AF59979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00834" y="4441175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C3B150E1-9A36-19D4-5913-998D23AB731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04742" y="5128864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121817E4-AD34-31CF-4ABB-6A5AAED1109E}"/>
              </a:ext>
            </a:extLst>
          </p:cNvPr>
          <p:cNvSpPr/>
          <p:nvPr userDrawn="1"/>
        </p:nvSpPr>
        <p:spPr>
          <a:xfrm>
            <a:off x="9337941" y="841506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011E3A5C-D5E8-9BCE-D501-1528934F57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0295" y="1822926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3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+0%</a:t>
            </a:r>
            <a:endParaRPr lang="en-NL"/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1DD52766-079B-FC80-E2ED-2D922D5452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04203" y="2510615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3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1691D06-3F95-E0B7-A510-524F28EEF949}"/>
              </a:ext>
            </a:extLst>
          </p:cNvPr>
          <p:cNvSpPr/>
          <p:nvPr userDrawn="1"/>
        </p:nvSpPr>
        <p:spPr>
          <a:xfrm>
            <a:off x="9344868" y="3452828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6" name="Text Placeholder 36">
            <a:extLst>
              <a:ext uri="{FF2B5EF4-FFF2-40B4-BE49-F238E27FC236}">
                <a16:creationId xmlns:a16="http://schemas.microsoft.com/office/drawing/2014/main" id="{23D5CF3D-FB14-FD9C-C829-EF9C514D07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7222" y="4434248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AD15071A-385E-DE94-2CAA-47892C53127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511130" y="5121937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24" name="Rounded Rectangle 35">
            <a:extLst>
              <a:ext uri="{FF2B5EF4-FFF2-40B4-BE49-F238E27FC236}">
                <a16:creationId xmlns:a16="http://schemas.microsoft.com/office/drawing/2014/main" id="{59903672-B478-1FC3-F27C-82AFFBA71EE9}"/>
              </a:ext>
            </a:extLst>
          </p:cNvPr>
          <p:cNvSpPr/>
          <p:nvPr userDrawn="1"/>
        </p:nvSpPr>
        <p:spPr>
          <a:xfrm>
            <a:off x="2135286" y="3459755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0091A224-5A8B-4099-0D20-FA95423F4A3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97640" y="4441175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tx2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26" name="Text Placeholder 36">
            <a:extLst>
              <a:ext uri="{FF2B5EF4-FFF2-40B4-BE49-F238E27FC236}">
                <a16:creationId xmlns:a16="http://schemas.microsoft.com/office/drawing/2014/main" id="{15F24498-E2E4-83C2-806F-BE5FA2C998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01548" y="5128864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010820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77">
          <p15:clr>
            <a:srgbClr val="FBAE40"/>
          </p15:clr>
        </p15:guide>
        <p15:guide id="15" pos="588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kant - Ora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375E580F-5AD3-E543-7B1A-0F636A2FC5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61242" y="0"/>
            <a:ext cx="4230757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rIns="360000" bIns="360000" anchor="b"/>
          <a:lstStyle>
            <a:lvl1pPr marL="0" indent="0" algn="r">
              <a:buNone/>
              <a:defRPr sz="1200" b="0" i="0" kern="100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nl-NL"/>
              <a:t>Klik om afbeelding</a:t>
            </a:r>
            <a:br>
              <a:rPr lang="en-NL"/>
            </a:br>
            <a:r>
              <a:rPr lang="en-NL"/>
              <a:t>toe te voegen</a:t>
            </a:r>
            <a:endParaRPr lang="nl-NL"/>
          </a:p>
        </p:txBody>
      </p:sp>
      <p:sp>
        <p:nvSpPr>
          <p:cNvPr id="34" name="Shape">
            <a:extLst>
              <a:ext uri="{FF2B5EF4-FFF2-40B4-BE49-F238E27FC236}">
                <a16:creationId xmlns:a16="http://schemas.microsoft.com/office/drawing/2014/main" id="{D8CDA9A5-8E5B-32F6-01D9-008A4A3D5CD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  <a:moveTo>
                  <a:pt x="16026" y="400"/>
                </a:moveTo>
                <a:lnTo>
                  <a:pt x="21117" y="400"/>
                </a:lnTo>
                <a:cubicBezTo>
                  <a:pt x="21155" y="400"/>
                  <a:pt x="21185" y="400"/>
                  <a:pt x="21210" y="402"/>
                </a:cubicBezTo>
                <a:cubicBezTo>
                  <a:pt x="21234" y="405"/>
                  <a:pt x="21253" y="411"/>
                  <a:pt x="21268" y="422"/>
                </a:cubicBezTo>
                <a:cubicBezTo>
                  <a:pt x="21290" y="437"/>
                  <a:pt x="21310" y="459"/>
                  <a:pt x="21326" y="488"/>
                </a:cubicBezTo>
                <a:cubicBezTo>
                  <a:pt x="21342" y="516"/>
                  <a:pt x="21354" y="551"/>
                  <a:pt x="21362" y="589"/>
                </a:cubicBezTo>
                <a:cubicBezTo>
                  <a:pt x="21369" y="616"/>
                  <a:pt x="21372" y="650"/>
                  <a:pt x="21374" y="694"/>
                </a:cubicBezTo>
                <a:cubicBezTo>
                  <a:pt x="21375" y="737"/>
                  <a:pt x="21375" y="791"/>
                  <a:pt x="21375" y="859"/>
                </a:cubicBezTo>
                <a:lnTo>
                  <a:pt x="21375" y="20741"/>
                </a:lnTo>
                <a:cubicBezTo>
                  <a:pt x="21375" y="20809"/>
                  <a:pt x="21375" y="20863"/>
                  <a:pt x="21374" y="20906"/>
                </a:cubicBezTo>
                <a:cubicBezTo>
                  <a:pt x="21372" y="20950"/>
                  <a:pt x="21369" y="20984"/>
                  <a:pt x="21362" y="21011"/>
                </a:cubicBezTo>
                <a:cubicBezTo>
                  <a:pt x="21354" y="21049"/>
                  <a:pt x="21342" y="21084"/>
                  <a:pt x="21326" y="21112"/>
                </a:cubicBezTo>
                <a:cubicBezTo>
                  <a:pt x="21310" y="21141"/>
                  <a:pt x="21290" y="21163"/>
                  <a:pt x="21268" y="21178"/>
                </a:cubicBezTo>
                <a:cubicBezTo>
                  <a:pt x="21253" y="21189"/>
                  <a:pt x="21234" y="21195"/>
                  <a:pt x="21210" y="21198"/>
                </a:cubicBezTo>
                <a:cubicBezTo>
                  <a:pt x="21185" y="21200"/>
                  <a:pt x="21155" y="21200"/>
                  <a:pt x="21117" y="21200"/>
                </a:cubicBezTo>
                <a:lnTo>
                  <a:pt x="14935" y="21200"/>
                </a:lnTo>
                <a:lnTo>
                  <a:pt x="14359" y="16154"/>
                </a:lnTo>
                <a:cubicBezTo>
                  <a:pt x="15183" y="14487"/>
                  <a:pt x="15816" y="12506"/>
                  <a:pt x="16194" y="10311"/>
                </a:cubicBezTo>
                <a:cubicBezTo>
                  <a:pt x="16752" y="7064"/>
                  <a:pt x="16693" y="3581"/>
                  <a:pt x="16026" y="400"/>
                </a:cubicBezTo>
                <a:close/>
              </a:path>
            </a:pathLst>
          </a:custGeom>
          <a:solidFill>
            <a:schemeClr val="bg2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90000"/>
              </a:lnSpc>
              <a:defRPr sz="4000" b="1">
                <a:solidFill>
                  <a:schemeClr val="accent6"/>
                </a:solidFill>
                <a:latin typeface="+mn-lt"/>
                <a:ea typeface="+mn-ea"/>
                <a:cs typeface="+mn-cs"/>
                <a:sym typeface="BricolageGrotesque-96ptExtraBold_Bold"/>
              </a:defRPr>
            </a:pPr>
            <a:endParaRPr/>
          </a:p>
        </p:txBody>
      </p:sp>
      <p:sp>
        <p:nvSpPr>
          <p:cNvPr id="35" name="Shape">
            <a:extLst>
              <a:ext uri="{FF2B5EF4-FFF2-40B4-BE49-F238E27FC236}">
                <a16:creationId xmlns:a16="http://schemas.microsoft.com/office/drawing/2014/main" id="{8353F255-649E-967B-F928-E4182EB432E1}"/>
              </a:ext>
            </a:extLst>
          </p:cNvPr>
          <p:cNvSpPr/>
          <p:nvPr userDrawn="1"/>
        </p:nvSpPr>
        <p:spPr>
          <a:xfrm>
            <a:off x="127000" y="127000"/>
            <a:ext cx="9013431" cy="66024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349" y="0"/>
                </a:moveTo>
                <a:cubicBezTo>
                  <a:pt x="298" y="0"/>
                  <a:pt x="256" y="0"/>
                  <a:pt x="223" y="3"/>
                </a:cubicBezTo>
                <a:cubicBezTo>
                  <a:pt x="190" y="6"/>
                  <a:pt x="165" y="12"/>
                  <a:pt x="144" y="24"/>
                </a:cubicBezTo>
                <a:cubicBezTo>
                  <a:pt x="115" y="38"/>
                  <a:pt x="88" y="62"/>
                  <a:pt x="67" y="91"/>
                </a:cubicBezTo>
                <a:cubicBezTo>
                  <a:pt x="45" y="121"/>
                  <a:pt x="28" y="157"/>
                  <a:pt x="17" y="197"/>
                </a:cubicBezTo>
                <a:cubicBezTo>
                  <a:pt x="9" y="225"/>
                  <a:pt x="4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4" y="21340"/>
                  <a:pt x="9" y="21375"/>
                  <a:pt x="17" y="21403"/>
                </a:cubicBezTo>
                <a:cubicBezTo>
                  <a:pt x="28" y="21443"/>
                  <a:pt x="45" y="21479"/>
                  <a:pt x="67" y="21509"/>
                </a:cubicBezTo>
                <a:cubicBezTo>
                  <a:pt x="88" y="21538"/>
                  <a:pt x="115" y="21562"/>
                  <a:pt x="144" y="21576"/>
                </a:cubicBezTo>
                <a:cubicBezTo>
                  <a:pt x="165" y="21588"/>
                  <a:pt x="190" y="21594"/>
                  <a:pt x="223" y="21597"/>
                </a:cubicBezTo>
                <a:cubicBezTo>
                  <a:pt x="223" y="21597"/>
                  <a:pt x="224" y="21597"/>
                  <a:pt x="224" y="21597"/>
                </a:cubicBezTo>
                <a:cubicBezTo>
                  <a:pt x="257" y="21600"/>
                  <a:pt x="298" y="21600"/>
                  <a:pt x="349" y="21600"/>
                </a:cubicBezTo>
                <a:cubicBezTo>
                  <a:pt x="349" y="21600"/>
                  <a:pt x="349" y="21600"/>
                  <a:pt x="349" y="21600"/>
                </a:cubicBezTo>
                <a:lnTo>
                  <a:pt x="10675" y="21600"/>
                </a:lnTo>
                <a:lnTo>
                  <a:pt x="12452" y="21600"/>
                </a:lnTo>
                <a:cubicBezTo>
                  <a:pt x="12503" y="21600"/>
                  <a:pt x="12543" y="21600"/>
                  <a:pt x="12577" y="21597"/>
                </a:cubicBezTo>
                <a:cubicBezTo>
                  <a:pt x="12592" y="21596"/>
                  <a:pt x="12602" y="21590"/>
                  <a:pt x="12614" y="21587"/>
                </a:cubicBezTo>
                <a:lnTo>
                  <a:pt x="12616" y="21593"/>
                </a:lnTo>
                <a:cubicBezTo>
                  <a:pt x="13898" y="21210"/>
                  <a:pt x="15105" y="20552"/>
                  <a:pt x="16201" y="19665"/>
                </a:cubicBezTo>
                <a:cubicBezTo>
                  <a:pt x="17296" y="18778"/>
                  <a:pt x="18281" y="17661"/>
                  <a:pt x="19119" y="16360"/>
                </a:cubicBezTo>
                <a:lnTo>
                  <a:pt x="16688" y="6"/>
                </a:lnTo>
                <a:lnTo>
                  <a:pt x="12579" y="2"/>
                </a:lnTo>
                <a:lnTo>
                  <a:pt x="12579" y="4"/>
                </a:lnTo>
                <a:cubicBezTo>
                  <a:pt x="12578" y="3"/>
                  <a:pt x="12578" y="3"/>
                  <a:pt x="12577" y="3"/>
                </a:cubicBezTo>
                <a:cubicBezTo>
                  <a:pt x="12543" y="0"/>
                  <a:pt x="12503" y="0"/>
                  <a:pt x="12452" y="0"/>
                </a:cubicBezTo>
                <a:lnTo>
                  <a:pt x="7327" y="0"/>
                </a:lnTo>
                <a:lnTo>
                  <a:pt x="349" y="0"/>
                </a:lnTo>
                <a:close/>
                <a:moveTo>
                  <a:pt x="19119" y="16360"/>
                </a:moveTo>
                <a:lnTo>
                  <a:pt x="21600" y="10292"/>
                </a:lnTo>
                <a:lnTo>
                  <a:pt x="19119" y="16360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8599E69-5CE2-F57F-67C0-415CCB6CA917}"/>
              </a:ext>
            </a:extLst>
          </p:cNvPr>
          <p:cNvSpPr>
            <a:spLocks noChangeAspect="1"/>
          </p:cNvSpPr>
          <p:nvPr userDrawn="1"/>
        </p:nvSpPr>
        <p:spPr>
          <a:xfrm>
            <a:off x="8995282" y="96642"/>
            <a:ext cx="90000" cy="90000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63628C5-3487-C50E-BE4F-B4853FEE1D83}"/>
              </a:ext>
            </a:extLst>
          </p:cNvPr>
          <p:cNvSpPr>
            <a:spLocks noChangeAspect="1"/>
          </p:cNvSpPr>
          <p:nvPr userDrawn="1"/>
        </p:nvSpPr>
        <p:spPr>
          <a:xfrm>
            <a:off x="5402931" y="6671358"/>
            <a:ext cx="90000" cy="90000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EAE8916E-2232-9A74-B691-B5C0A3D62B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953222"/>
            <a:ext cx="1421476" cy="314718"/>
          </a:xfrm>
          <a:prstGeom prst="rect">
            <a:avLst/>
          </a:prstGeom>
        </p:spPr>
      </p:pic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A23B22FF-8652-1C93-E080-0A61DCDD4B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2561613"/>
            <a:ext cx="5248419" cy="2862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Naam van document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921747EF-2F13-1756-24F4-186E95210E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2857921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bg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FEFA122-C2A5-753E-616B-15DB01B0BC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827" y="6081353"/>
            <a:ext cx="5248419" cy="2308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>
                <a:solidFill>
                  <a:schemeClr val="bg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© Esprit ICT - 2024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79201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4044">
          <p15:clr>
            <a:srgbClr val="FBAE40"/>
          </p15:clr>
        </p15:guide>
        <p15:guide id="10" pos="363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kant - Blau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375E580F-5AD3-E543-7B1A-0F636A2FC5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61242" y="0"/>
            <a:ext cx="4230757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rIns="360000" bIns="360000" anchor="b"/>
          <a:lstStyle>
            <a:lvl1pPr marL="0" indent="0" algn="r">
              <a:buNone/>
              <a:defRPr sz="1200" b="0" i="0" kern="100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nl-NL"/>
              <a:t>Klik om afbeelding</a:t>
            </a:r>
            <a:br>
              <a:rPr lang="en-NL"/>
            </a:br>
            <a:r>
              <a:rPr lang="en-NL"/>
              <a:t>toe te voegen</a:t>
            </a:r>
            <a:endParaRPr lang="nl-NL"/>
          </a:p>
        </p:txBody>
      </p:sp>
      <p:sp>
        <p:nvSpPr>
          <p:cNvPr id="34" name="Shape">
            <a:extLst>
              <a:ext uri="{FF2B5EF4-FFF2-40B4-BE49-F238E27FC236}">
                <a16:creationId xmlns:a16="http://schemas.microsoft.com/office/drawing/2014/main" id="{D8CDA9A5-8E5B-32F6-01D9-008A4A3D5CD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  <a:moveTo>
                  <a:pt x="16026" y="400"/>
                </a:moveTo>
                <a:lnTo>
                  <a:pt x="21117" y="400"/>
                </a:lnTo>
                <a:cubicBezTo>
                  <a:pt x="21155" y="400"/>
                  <a:pt x="21185" y="400"/>
                  <a:pt x="21210" y="402"/>
                </a:cubicBezTo>
                <a:cubicBezTo>
                  <a:pt x="21234" y="405"/>
                  <a:pt x="21253" y="411"/>
                  <a:pt x="21268" y="422"/>
                </a:cubicBezTo>
                <a:cubicBezTo>
                  <a:pt x="21290" y="437"/>
                  <a:pt x="21310" y="459"/>
                  <a:pt x="21326" y="488"/>
                </a:cubicBezTo>
                <a:cubicBezTo>
                  <a:pt x="21342" y="516"/>
                  <a:pt x="21354" y="551"/>
                  <a:pt x="21362" y="589"/>
                </a:cubicBezTo>
                <a:cubicBezTo>
                  <a:pt x="21369" y="616"/>
                  <a:pt x="21372" y="650"/>
                  <a:pt x="21374" y="694"/>
                </a:cubicBezTo>
                <a:cubicBezTo>
                  <a:pt x="21375" y="737"/>
                  <a:pt x="21375" y="791"/>
                  <a:pt x="21375" y="859"/>
                </a:cubicBezTo>
                <a:lnTo>
                  <a:pt x="21375" y="20741"/>
                </a:lnTo>
                <a:cubicBezTo>
                  <a:pt x="21375" y="20809"/>
                  <a:pt x="21375" y="20863"/>
                  <a:pt x="21374" y="20906"/>
                </a:cubicBezTo>
                <a:cubicBezTo>
                  <a:pt x="21372" y="20950"/>
                  <a:pt x="21369" y="20984"/>
                  <a:pt x="21362" y="21011"/>
                </a:cubicBezTo>
                <a:cubicBezTo>
                  <a:pt x="21354" y="21049"/>
                  <a:pt x="21342" y="21084"/>
                  <a:pt x="21326" y="21112"/>
                </a:cubicBezTo>
                <a:cubicBezTo>
                  <a:pt x="21310" y="21141"/>
                  <a:pt x="21290" y="21163"/>
                  <a:pt x="21268" y="21178"/>
                </a:cubicBezTo>
                <a:cubicBezTo>
                  <a:pt x="21253" y="21189"/>
                  <a:pt x="21234" y="21195"/>
                  <a:pt x="21210" y="21198"/>
                </a:cubicBezTo>
                <a:cubicBezTo>
                  <a:pt x="21185" y="21200"/>
                  <a:pt x="21155" y="21200"/>
                  <a:pt x="21117" y="21200"/>
                </a:cubicBezTo>
                <a:lnTo>
                  <a:pt x="14935" y="21200"/>
                </a:lnTo>
                <a:lnTo>
                  <a:pt x="14359" y="16154"/>
                </a:lnTo>
                <a:cubicBezTo>
                  <a:pt x="15183" y="14487"/>
                  <a:pt x="15816" y="12506"/>
                  <a:pt x="16194" y="10311"/>
                </a:cubicBezTo>
                <a:cubicBezTo>
                  <a:pt x="16752" y="7064"/>
                  <a:pt x="16693" y="3581"/>
                  <a:pt x="16026" y="400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90000"/>
              </a:lnSpc>
              <a:defRPr sz="4000" b="1">
                <a:solidFill>
                  <a:schemeClr val="accent6"/>
                </a:solidFill>
                <a:latin typeface="+mn-lt"/>
                <a:ea typeface="+mn-ea"/>
                <a:cs typeface="+mn-cs"/>
                <a:sym typeface="BricolageGrotesque-96ptExtraBold_Bold"/>
              </a:defRPr>
            </a:pPr>
            <a:endParaRPr/>
          </a:p>
        </p:txBody>
      </p:sp>
      <p:sp>
        <p:nvSpPr>
          <p:cNvPr id="35" name="Shape">
            <a:extLst>
              <a:ext uri="{FF2B5EF4-FFF2-40B4-BE49-F238E27FC236}">
                <a16:creationId xmlns:a16="http://schemas.microsoft.com/office/drawing/2014/main" id="{8353F255-649E-967B-F928-E4182EB432E1}"/>
              </a:ext>
            </a:extLst>
          </p:cNvPr>
          <p:cNvSpPr/>
          <p:nvPr userDrawn="1"/>
        </p:nvSpPr>
        <p:spPr>
          <a:xfrm>
            <a:off x="127000" y="127000"/>
            <a:ext cx="9013431" cy="66040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349" y="0"/>
                </a:moveTo>
                <a:cubicBezTo>
                  <a:pt x="298" y="0"/>
                  <a:pt x="256" y="0"/>
                  <a:pt x="223" y="3"/>
                </a:cubicBezTo>
                <a:cubicBezTo>
                  <a:pt x="190" y="6"/>
                  <a:pt x="165" y="12"/>
                  <a:pt x="144" y="24"/>
                </a:cubicBezTo>
                <a:cubicBezTo>
                  <a:pt x="115" y="38"/>
                  <a:pt x="88" y="62"/>
                  <a:pt x="67" y="91"/>
                </a:cubicBezTo>
                <a:cubicBezTo>
                  <a:pt x="45" y="121"/>
                  <a:pt x="28" y="157"/>
                  <a:pt x="17" y="197"/>
                </a:cubicBezTo>
                <a:cubicBezTo>
                  <a:pt x="9" y="225"/>
                  <a:pt x="4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4" y="21340"/>
                  <a:pt x="9" y="21375"/>
                  <a:pt x="17" y="21403"/>
                </a:cubicBezTo>
                <a:cubicBezTo>
                  <a:pt x="28" y="21443"/>
                  <a:pt x="45" y="21479"/>
                  <a:pt x="67" y="21509"/>
                </a:cubicBezTo>
                <a:cubicBezTo>
                  <a:pt x="88" y="21538"/>
                  <a:pt x="115" y="21562"/>
                  <a:pt x="144" y="21576"/>
                </a:cubicBezTo>
                <a:cubicBezTo>
                  <a:pt x="165" y="21588"/>
                  <a:pt x="190" y="21594"/>
                  <a:pt x="223" y="21597"/>
                </a:cubicBezTo>
                <a:cubicBezTo>
                  <a:pt x="223" y="21597"/>
                  <a:pt x="224" y="21597"/>
                  <a:pt x="224" y="21597"/>
                </a:cubicBezTo>
                <a:cubicBezTo>
                  <a:pt x="257" y="21600"/>
                  <a:pt x="298" y="21600"/>
                  <a:pt x="349" y="21600"/>
                </a:cubicBezTo>
                <a:cubicBezTo>
                  <a:pt x="349" y="21600"/>
                  <a:pt x="349" y="21600"/>
                  <a:pt x="349" y="21600"/>
                </a:cubicBezTo>
                <a:lnTo>
                  <a:pt x="10675" y="21600"/>
                </a:lnTo>
                <a:lnTo>
                  <a:pt x="12452" y="21600"/>
                </a:lnTo>
                <a:cubicBezTo>
                  <a:pt x="12503" y="21600"/>
                  <a:pt x="12543" y="21600"/>
                  <a:pt x="12577" y="21597"/>
                </a:cubicBezTo>
                <a:cubicBezTo>
                  <a:pt x="12592" y="21596"/>
                  <a:pt x="12602" y="21590"/>
                  <a:pt x="12614" y="21587"/>
                </a:cubicBezTo>
                <a:lnTo>
                  <a:pt x="12616" y="21593"/>
                </a:lnTo>
                <a:cubicBezTo>
                  <a:pt x="13898" y="21210"/>
                  <a:pt x="15105" y="20552"/>
                  <a:pt x="16201" y="19665"/>
                </a:cubicBezTo>
                <a:cubicBezTo>
                  <a:pt x="17296" y="18778"/>
                  <a:pt x="18281" y="17661"/>
                  <a:pt x="19119" y="16360"/>
                </a:cubicBezTo>
                <a:lnTo>
                  <a:pt x="16688" y="6"/>
                </a:lnTo>
                <a:lnTo>
                  <a:pt x="12579" y="2"/>
                </a:lnTo>
                <a:lnTo>
                  <a:pt x="12579" y="4"/>
                </a:lnTo>
                <a:cubicBezTo>
                  <a:pt x="12578" y="3"/>
                  <a:pt x="12578" y="3"/>
                  <a:pt x="12577" y="3"/>
                </a:cubicBezTo>
                <a:cubicBezTo>
                  <a:pt x="12543" y="0"/>
                  <a:pt x="12503" y="0"/>
                  <a:pt x="12452" y="0"/>
                </a:cubicBezTo>
                <a:lnTo>
                  <a:pt x="7327" y="0"/>
                </a:lnTo>
                <a:lnTo>
                  <a:pt x="349" y="0"/>
                </a:lnTo>
                <a:close/>
                <a:moveTo>
                  <a:pt x="19119" y="16360"/>
                </a:moveTo>
                <a:lnTo>
                  <a:pt x="21600" y="10292"/>
                </a:lnTo>
                <a:lnTo>
                  <a:pt x="19119" y="16360"/>
                </a:lnTo>
                <a:close/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8599E69-5CE2-F57F-67C0-415CCB6CA917}"/>
              </a:ext>
            </a:extLst>
          </p:cNvPr>
          <p:cNvSpPr>
            <a:spLocks noChangeAspect="1"/>
          </p:cNvSpPr>
          <p:nvPr userDrawn="1"/>
        </p:nvSpPr>
        <p:spPr>
          <a:xfrm>
            <a:off x="8995282" y="96642"/>
            <a:ext cx="90000" cy="90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63628C5-3487-C50E-BE4F-B4853FEE1D83}"/>
              </a:ext>
            </a:extLst>
          </p:cNvPr>
          <p:cNvSpPr>
            <a:spLocks noChangeAspect="1"/>
          </p:cNvSpPr>
          <p:nvPr userDrawn="1"/>
        </p:nvSpPr>
        <p:spPr>
          <a:xfrm>
            <a:off x="5402931" y="6671358"/>
            <a:ext cx="90000" cy="90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EAE8916E-2232-9A74-B691-B5C0A3D62B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953222"/>
            <a:ext cx="1421476" cy="314718"/>
          </a:xfrm>
          <a:prstGeom prst="rect">
            <a:avLst/>
          </a:prstGeom>
        </p:spPr>
      </p:pic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A23B22FF-8652-1C93-E080-0A61DCDD4B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2561613"/>
            <a:ext cx="5248419" cy="2862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400">
                <a:solidFill>
                  <a:schemeClr val="accent6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Naam van document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921747EF-2F13-1756-24F4-186E95210E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2857921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6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FEFA122-C2A5-753E-616B-15DB01B0BC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827" y="6081353"/>
            <a:ext cx="5248419" cy="2308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© Esprit ICT - 2024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99315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4044">
          <p15:clr>
            <a:srgbClr val="FBAE40"/>
          </p15:clr>
        </p15:guide>
        <p15:guide id="10" pos="3636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kant - Ro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375E580F-5AD3-E543-7B1A-0F636A2FC5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61242" y="0"/>
            <a:ext cx="4230757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rIns="360000" bIns="360000" anchor="b"/>
          <a:lstStyle>
            <a:lvl1pPr marL="0" indent="0" algn="r">
              <a:buNone/>
              <a:defRPr sz="1200" b="0" i="0" kern="100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nl-NL"/>
              <a:t>Klik om afbeelding</a:t>
            </a:r>
            <a:br>
              <a:rPr lang="en-NL"/>
            </a:br>
            <a:r>
              <a:rPr lang="en-NL"/>
              <a:t>toe te voegen</a:t>
            </a:r>
            <a:endParaRPr lang="nl-NL"/>
          </a:p>
        </p:txBody>
      </p:sp>
      <p:sp>
        <p:nvSpPr>
          <p:cNvPr id="34" name="Shape">
            <a:extLst>
              <a:ext uri="{FF2B5EF4-FFF2-40B4-BE49-F238E27FC236}">
                <a16:creationId xmlns:a16="http://schemas.microsoft.com/office/drawing/2014/main" id="{D8CDA9A5-8E5B-32F6-01D9-008A4A3D5CD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  <a:moveTo>
                  <a:pt x="16026" y="400"/>
                </a:moveTo>
                <a:lnTo>
                  <a:pt x="21117" y="400"/>
                </a:lnTo>
                <a:cubicBezTo>
                  <a:pt x="21155" y="400"/>
                  <a:pt x="21185" y="400"/>
                  <a:pt x="21210" y="402"/>
                </a:cubicBezTo>
                <a:cubicBezTo>
                  <a:pt x="21234" y="405"/>
                  <a:pt x="21253" y="411"/>
                  <a:pt x="21268" y="422"/>
                </a:cubicBezTo>
                <a:cubicBezTo>
                  <a:pt x="21290" y="437"/>
                  <a:pt x="21310" y="459"/>
                  <a:pt x="21326" y="488"/>
                </a:cubicBezTo>
                <a:cubicBezTo>
                  <a:pt x="21342" y="516"/>
                  <a:pt x="21354" y="551"/>
                  <a:pt x="21362" y="589"/>
                </a:cubicBezTo>
                <a:cubicBezTo>
                  <a:pt x="21369" y="616"/>
                  <a:pt x="21372" y="650"/>
                  <a:pt x="21374" y="694"/>
                </a:cubicBezTo>
                <a:cubicBezTo>
                  <a:pt x="21375" y="737"/>
                  <a:pt x="21375" y="791"/>
                  <a:pt x="21375" y="859"/>
                </a:cubicBezTo>
                <a:lnTo>
                  <a:pt x="21375" y="20741"/>
                </a:lnTo>
                <a:cubicBezTo>
                  <a:pt x="21375" y="20809"/>
                  <a:pt x="21375" y="20863"/>
                  <a:pt x="21374" y="20906"/>
                </a:cubicBezTo>
                <a:cubicBezTo>
                  <a:pt x="21372" y="20950"/>
                  <a:pt x="21369" y="20984"/>
                  <a:pt x="21362" y="21011"/>
                </a:cubicBezTo>
                <a:cubicBezTo>
                  <a:pt x="21354" y="21049"/>
                  <a:pt x="21342" y="21084"/>
                  <a:pt x="21326" y="21112"/>
                </a:cubicBezTo>
                <a:cubicBezTo>
                  <a:pt x="21310" y="21141"/>
                  <a:pt x="21290" y="21163"/>
                  <a:pt x="21268" y="21178"/>
                </a:cubicBezTo>
                <a:cubicBezTo>
                  <a:pt x="21253" y="21189"/>
                  <a:pt x="21234" y="21195"/>
                  <a:pt x="21210" y="21198"/>
                </a:cubicBezTo>
                <a:cubicBezTo>
                  <a:pt x="21185" y="21200"/>
                  <a:pt x="21155" y="21200"/>
                  <a:pt x="21117" y="21200"/>
                </a:cubicBezTo>
                <a:lnTo>
                  <a:pt x="14935" y="21200"/>
                </a:lnTo>
                <a:lnTo>
                  <a:pt x="14359" y="16154"/>
                </a:lnTo>
                <a:cubicBezTo>
                  <a:pt x="15183" y="14487"/>
                  <a:pt x="15816" y="12506"/>
                  <a:pt x="16194" y="10311"/>
                </a:cubicBezTo>
                <a:cubicBezTo>
                  <a:pt x="16752" y="7064"/>
                  <a:pt x="16693" y="3581"/>
                  <a:pt x="16026" y="40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90000"/>
              </a:lnSpc>
              <a:defRPr sz="4000" b="1">
                <a:solidFill>
                  <a:schemeClr val="accent6"/>
                </a:solidFill>
                <a:latin typeface="+mn-lt"/>
                <a:ea typeface="+mn-ea"/>
                <a:cs typeface="+mn-cs"/>
                <a:sym typeface="BricolageGrotesque-96ptExtraBold_Bold"/>
              </a:defRPr>
            </a:pPr>
            <a:endParaRPr/>
          </a:p>
        </p:txBody>
      </p:sp>
      <p:sp>
        <p:nvSpPr>
          <p:cNvPr id="35" name="Shape">
            <a:extLst>
              <a:ext uri="{FF2B5EF4-FFF2-40B4-BE49-F238E27FC236}">
                <a16:creationId xmlns:a16="http://schemas.microsoft.com/office/drawing/2014/main" id="{8353F255-649E-967B-F928-E4182EB432E1}"/>
              </a:ext>
            </a:extLst>
          </p:cNvPr>
          <p:cNvSpPr/>
          <p:nvPr userDrawn="1"/>
        </p:nvSpPr>
        <p:spPr>
          <a:xfrm>
            <a:off x="127000" y="127000"/>
            <a:ext cx="9013431" cy="66040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349" y="0"/>
                </a:moveTo>
                <a:cubicBezTo>
                  <a:pt x="298" y="0"/>
                  <a:pt x="256" y="0"/>
                  <a:pt x="223" y="3"/>
                </a:cubicBezTo>
                <a:cubicBezTo>
                  <a:pt x="190" y="6"/>
                  <a:pt x="165" y="12"/>
                  <a:pt x="144" y="24"/>
                </a:cubicBezTo>
                <a:cubicBezTo>
                  <a:pt x="115" y="38"/>
                  <a:pt x="88" y="62"/>
                  <a:pt x="67" y="91"/>
                </a:cubicBezTo>
                <a:cubicBezTo>
                  <a:pt x="45" y="121"/>
                  <a:pt x="28" y="157"/>
                  <a:pt x="17" y="197"/>
                </a:cubicBezTo>
                <a:cubicBezTo>
                  <a:pt x="9" y="225"/>
                  <a:pt x="4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4" y="21340"/>
                  <a:pt x="9" y="21375"/>
                  <a:pt x="17" y="21403"/>
                </a:cubicBezTo>
                <a:cubicBezTo>
                  <a:pt x="28" y="21443"/>
                  <a:pt x="45" y="21479"/>
                  <a:pt x="67" y="21509"/>
                </a:cubicBezTo>
                <a:cubicBezTo>
                  <a:pt x="88" y="21538"/>
                  <a:pt x="115" y="21562"/>
                  <a:pt x="144" y="21576"/>
                </a:cubicBezTo>
                <a:cubicBezTo>
                  <a:pt x="165" y="21588"/>
                  <a:pt x="190" y="21594"/>
                  <a:pt x="223" y="21597"/>
                </a:cubicBezTo>
                <a:cubicBezTo>
                  <a:pt x="223" y="21597"/>
                  <a:pt x="224" y="21597"/>
                  <a:pt x="224" y="21597"/>
                </a:cubicBezTo>
                <a:cubicBezTo>
                  <a:pt x="257" y="21600"/>
                  <a:pt x="298" y="21600"/>
                  <a:pt x="349" y="21600"/>
                </a:cubicBezTo>
                <a:cubicBezTo>
                  <a:pt x="349" y="21600"/>
                  <a:pt x="349" y="21600"/>
                  <a:pt x="349" y="21600"/>
                </a:cubicBezTo>
                <a:lnTo>
                  <a:pt x="10675" y="21600"/>
                </a:lnTo>
                <a:lnTo>
                  <a:pt x="12452" y="21600"/>
                </a:lnTo>
                <a:cubicBezTo>
                  <a:pt x="12503" y="21600"/>
                  <a:pt x="12543" y="21600"/>
                  <a:pt x="12577" y="21597"/>
                </a:cubicBezTo>
                <a:cubicBezTo>
                  <a:pt x="12592" y="21596"/>
                  <a:pt x="12602" y="21590"/>
                  <a:pt x="12614" y="21587"/>
                </a:cubicBezTo>
                <a:lnTo>
                  <a:pt x="12616" y="21593"/>
                </a:lnTo>
                <a:cubicBezTo>
                  <a:pt x="13898" y="21210"/>
                  <a:pt x="15105" y="20552"/>
                  <a:pt x="16201" y="19665"/>
                </a:cubicBezTo>
                <a:cubicBezTo>
                  <a:pt x="17296" y="18778"/>
                  <a:pt x="18281" y="17661"/>
                  <a:pt x="19119" y="16360"/>
                </a:cubicBezTo>
                <a:lnTo>
                  <a:pt x="16688" y="6"/>
                </a:lnTo>
                <a:lnTo>
                  <a:pt x="12579" y="2"/>
                </a:lnTo>
                <a:lnTo>
                  <a:pt x="12579" y="4"/>
                </a:lnTo>
                <a:cubicBezTo>
                  <a:pt x="12578" y="3"/>
                  <a:pt x="12578" y="3"/>
                  <a:pt x="12577" y="3"/>
                </a:cubicBezTo>
                <a:cubicBezTo>
                  <a:pt x="12543" y="0"/>
                  <a:pt x="12503" y="0"/>
                  <a:pt x="12452" y="0"/>
                </a:cubicBezTo>
                <a:lnTo>
                  <a:pt x="7327" y="0"/>
                </a:lnTo>
                <a:lnTo>
                  <a:pt x="349" y="0"/>
                </a:lnTo>
                <a:close/>
                <a:moveTo>
                  <a:pt x="19119" y="16360"/>
                </a:moveTo>
                <a:lnTo>
                  <a:pt x="21600" y="10292"/>
                </a:lnTo>
                <a:lnTo>
                  <a:pt x="19119" y="16360"/>
                </a:ln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8599E69-5CE2-F57F-67C0-415CCB6CA917}"/>
              </a:ext>
            </a:extLst>
          </p:cNvPr>
          <p:cNvSpPr>
            <a:spLocks noChangeAspect="1"/>
          </p:cNvSpPr>
          <p:nvPr userDrawn="1"/>
        </p:nvSpPr>
        <p:spPr>
          <a:xfrm>
            <a:off x="8995282" y="96642"/>
            <a:ext cx="90000" cy="900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63628C5-3487-C50E-BE4F-B4853FEE1D83}"/>
              </a:ext>
            </a:extLst>
          </p:cNvPr>
          <p:cNvSpPr>
            <a:spLocks noChangeAspect="1"/>
          </p:cNvSpPr>
          <p:nvPr userDrawn="1"/>
        </p:nvSpPr>
        <p:spPr>
          <a:xfrm>
            <a:off x="5402931" y="6671358"/>
            <a:ext cx="90000" cy="900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EAE8916E-2232-9A74-B691-B5C0A3D62B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953222"/>
            <a:ext cx="1421476" cy="314718"/>
          </a:xfrm>
          <a:prstGeom prst="rect">
            <a:avLst/>
          </a:prstGeom>
        </p:spPr>
      </p:pic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A23B22FF-8652-1C93-E080-0A61DCDD4B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2561613"/>
            <a:ext cx="5248419" cy="2862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Naam van document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921747EF-2F13-1756-24F4-186E95210E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2857921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FEFA122-C2A5-753E-616B-15DB01B0BC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827" y="6081353"/>
            <a:ext cx="5248419" cy="2308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© Esprit ICT - 2024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980669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kant -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375E580F-5AD3-E543-7B1A-0F636A2FC5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61242" y="0"/>
            <a:ext cx="4230757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rIns="360000" bIns="360000" anchor="b"/>
          <a:lstStyle>
            <a:lvl1pPr marL="0" indent="0" algn="r">
              <a:buNone/>
              <a:defRPr sz="1200" b="0" i="0" kern="100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nl-NL"/>
              <a:t>Klik om afbeelding</a:t>
            </a:r>
            <a:br>
              <a:rPr lang="en-NL"/>
            </a:br>
            <a:r>
              <a:rPr lang="en-NL"/>
              <a:t>toe te voegen</a:t>
            </a:r>
            <a:endParaRPr lang="nl-NL"/>
          </a:p>
        </p:txBody>
      </p:sp>
      <p:sp>
        <p:nvSpPr>
          <p:cNvPr id="34" name="Shape">
            <a:extLst>
              <a:ext uri="{FF2B5EF4-FFF2-40B4-BE49-F238E27FC236}">
                <a16:creationId xmlns:a16="http://schemas.microsoft.com/office/drawing/2014/main" id="{D8CDA9A5-8E5B-32F6-01D9-008A4A3D5CD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  <a:moveTo>
                  <a:pt x="16026" y="400"/>
                </a:moveTo>
                <a:lnTo>
                  <a:pt x="21117" y="400"/>
                </a:lnTo>
                <a:cubicBezTo>
                  <a:pt x="21155" y="400"/>
                  <a:pt x="21185" y="400"/>
                  <a:pt x="21210" y="402"/>
                </a:cubicBezTo>
                <a:cubicBezTo>
                  <a:pt x="21234" y="405"/>
                  <a:pt x="21253" y="411"/>
                  <a:pt x="21268" y="422"/>
                </a:cubicBezTo>
                <a:cubicBezTo>
                  <a:pt x="21290" y="437"/>
                  <a:pt x="21310" y="459"/>
                  <a:pt x="21326" y="488"/>
                </a:cubicBezTo>
                <a:cubicBezTo>
                  <a:pt x="21342" y="516"/>
                  <a:pt x="21354" y="551"/>
                  <a:pt x="21362" y="589"/>
                </a:cubicBezTo>
                <a:cubicBezTo>
                  <a:pt x="21369" y="616"/>
                  <a:pt x="21372" y="650"/>
                  <a:pt x="21374" y="694"/>
                </a:cubicBezTo>
                <a:cubicBezTo>
                  <a:pt x="21375" y="737"/>
                  <a:pt x="21375" y="791"/>
                  <a:pt x="21375" y="859"/>
                </a:cubicBezTo>
                <a:lnTo>
                  <a:pt x="21375" y="20741"/>
                </a:lnTo>
                <a:cubicBezTo>
                  <a:pt x="21375" y="20809"/>
                  <a:pt x="21375" y="20863"/>
                  <a:pt x="21374" y="20906"/>
                </a:cubicBezTo>
                <a:cubicBezTo>
                  <a:pt x="21372" y="20950"/>
                  <a:pt x="21369" y="20984"/>
                  <a:pt x="21362" y="21011"/>
                </a:cubicBezTo>
                <a:cubicBezTo>
                  <a:pt x="21354" y="21049"/>
                  <a:pt x="21342" y="21084"/>
                  <a:pt x="21326" y="21112"/>
                </a:cubicBezTo>
                <a:cubicBezTo>
                  <a:pt x="21310" y="21141"/>
                  <a:pt x="21290" y="21163"/>
                  <a:pt x="21268" y="21178"/>
                </a:cubicBezTo>
                <a:cubicBezTo>
                  <a:pt x="21253" y="21189"/>
                  <a:pt x="21234" y="21195"/>
                  <a:pt x="21210" y="21198"/>
                </a:cubicBezTo>
                <a:cubicBezTo>
                  <a:pt x="21185" y="21200"/>
                  <a:pt x="21155" y="21200"/>
                  <a:pt x="21117" y="21200"/>
                </a:cubicBezTo>
                <a:lnTo>
                  <a:pt x="14935" y="21200"/>
                </a:lnTo>
                <a:lnTo>
                  <a:pt x="14359" y="16154"/>
                </a:lnTo>
                <a:cubicBezTo>
                  <a:pt x="15183" y="14487"/>
                  <a:pt x="15816" y="12506"/>
                  <a:pt x="16194" y="10311"/>
                </a:cubicBezTo>
                <a:cubicBezTo>
                  <a:pt x="16752" y="7064"/>
                  <a:pt x="16693" y="3581"/>
                  <a:pt x="16026" y="400"/>
                </a:cubicBezTo>
                <a:close/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90000"/>
              </a:lnSpc>
              <a:defRPr sz="4000" b="1">
                <a:solidFill>
                  <a:schemeClr val="accent6"/>
                </a:solidFill>
                <a:latin typeface="+mn-lt"/>
                <a:ea typeface="+mn-ea"/>
                <a:cs typeface="+mn-cs"/>
                <a:sym typeface="BricolageGrotesque-96ptExtraBold_Bold"/>
              </a:defRPr>
            </a:pPr>
            <a:endParaRPr/>
          </a:p>
        </p:txBody>
      </p:sp>
      <p:sp>
        <p:nvSpPr>
          <p:cNvPr id="35" name="Shape">
            <a:extLst>
              <a:ext uri="{FF2B5EF4-FFF2-40B4-BE49-F238E27FC236}">
                <a16:creationId xmlns:a16="http://schemas.microsoft.com/office/drawing/2014/main" id="{8353F255-649E-967B-F928-E4182EB432E1}"/>
              </a:ext>
            </a:extLst>
          </p:cNvPr>
          <p:cNvSpPr/>
          <p:nvPr userDrawn="1"/>
        </p:nvSpPr>
        <p:spPr>
          <a:xfrm>
            <a:off x="127000" y="127000"/>
            <a:ext cx="9013431" cy="66024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349" y="0"/>
                </a:moveTo>
                <a:cubicBezTo>
                  <a:pt x="298" y="0"/>
                  <a:pt x="256" y="0"/>
                  <a:pt x="223" y="3"/>
                </a:cubicBezTo>
                <a:cubicBezTo>
                  <a:pt x="190" y="6"/>
                  <a:pt x="165" y="12"/>
                  <a:pt x="144" y="24"/>
                </a:cubicBezTo>
                <a:cubicBezTo>
                  <a:pt x="115" y="38"/>
                  <a:pt x="88" y="62"/>
                  <a:pt x="67" y="91"/>
                </a:cubicBezTo>
                <a:cubicBezTo>
                  <a:pt x="45" y="121"/>
                  <a:pt x="28" y="157"/>
                  <a:pt x="17" y="197"/>
                </a:cubicBezTo>
                <a:cubicBezTo>
                  <a:pt x="9" y="225"/>
                  <a:pt x="4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4" y="21340"/>
                  <a:pt x="9" y="21375"/>
                  <a:pt x="17" y="21403"/>
                </a:cubicBezTo>
                <a:cubicBezTo>
                  <a:pt x="28" y="21443"/>
                  <a:pt x="45" y="21479"/>
                  <a:pt x="67" y="21509"/>
                </a:cubicBezTo>
                <a:cubicBezTo>
                  <a:pt x="88" y="21538"/>
                  <a:pt x="115" y="21562"/>
                  <a:pt x="144" y="21576"/>
                </a:cubicBezTo>
                <a:cubicBezTo>
                  <a:pt x="165" y="21588"/>
                  <a:pt x="190" y="21594"/>
                  <a:pt x="223" y="21597"/>
                </a:cubicBezTo>
                <a:cubicBezTo>
                  <a:pt x="223" y="21597"/>
                  <a:pt x="224" y="21597"/>
                  <a:pt x="224" y="21597"/>
                </a:cubicBezTo>
                <a:cubicBezTo>
                  <a:pt x="257" y="21600"/>
                  <a:pt x="298" y="21600"/>
                  <a:pt x="349" y="21600"/>
                </a:cubicBezTo>
                <a:cubicBezTo>
                  <a:pt x="349" y="21600"/>
                  <a:pt x="349" y="21600"/>
                  <a:pt x="349" y="21600"/>
                </a:cubicBezTo>
                <a:lnTo>
                  <a:pt x="10675" y="21600"/>
                </a:lnTo>
                <a:lnTo>
                  <a:pt x="12452" y="21600"/>
                </a:lnTo>
                <a:cubicBezTo>
                  <a:pt x="12503" y="21600"/>
                  <a:pt x="12543" y="21600"/>
                  <a:pt x="12577" y="21597"/>
                </a:cubicBezTo>
                <a:cubicBezTo>
                  <a:pt x="12592" y="21596"/>
                  <a:pt x="12602" y="21590"/>
                  <a:pt x="12614" y="21587"/>
                </a:cubicBezTo>
                <a:lnTo>
                  <a:pt x="12616" y="21593"/>
                </a:lnTo>
                <a:cubicBezTo>
                  <a:pt x="13898" y="21210"/>
                  <a:pt x="15105" y="20552"/>
                  <a:pt x="16201" y="19665"/>
                </a:cubicBezTo>
                <a:cubicBezTo>
                  <a:pt x="17296" y="18778"/>
                  <a:pt x="18281" y="17661"/>
                  <a:pt x="19119" y="16360"/>
                </a:cubicBezTo>
                <a:lnTo>
                  <a:pt x="16688" y="6"/>
                </a:lnTo>
                <a:lnTo>
                  <a:pt x="12579" y="2"/>
                </a:lnTo>
                <a:lnTo>
                  <a:pt x="12579" y="4"/>
                </a:lnTo>
                <a:cubicBezTo>
                  <a:pt x="12578" y="3"/>
                  <a:pt x="12578" y="3"/>
                  <a:pt x="12577" y="3"/>
                </a:cubicBezTo>
                <a:cubicBezTo>
                  <a:pt x="12543" y="0"/>
                  <a:pt x="12503" y="0"/>
                  <a:pt x="12452" y="0"/>
                </a:cubicBezTo>
                <a:lnTo>
                  <a:pt x="7327" y="0"/>
                </a:lnTo>
                <a:lnTo>
                  <a:pt x="349" y="0"/>
                </a:lnTo>
                <a:close/>
                <a:moveTo>
                  <a:pt x="19119" y="16360"/>
                </a:moveTo>
                <a:lnTo>
                  <a:pt x="21600" y="10292"/>
                </a:lnTo>
                <a:lnTo>
                  <a:pt x="19119" y="16360"/>
                </a:ln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8599E69-5CE2-F57F-67C0-415CCB6CA917}"/>
              </a:ext>
            </a:extLst>
          </p:cNvPr>
          <p:cNvSpPr>
            <a:spLocks noChangeAspect="1"/>
          </p:cNvSpPr>
          <p:nvPr userDrawn="1"/>
        </p:nvSpPr>
        <p:spPr>
          <a:xfrm>
            <a:off x="8995282" y="96642"/>
            <a:ext cx="90000" cy="9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63628C5-3487-C50E-BE4F-B4853FEE1D83}"/>
              </a:ext>
            </a:extLst>
          </p:cNvPr>
          <p:cNvSpPr>
            <a:spLocks noChangeAspect="1"/>
          </p:cNvSpPr>
          <p:nvPr userDrawn="1"/>
        </p:nvSpPr>
        <p:spPr>
          <a:xfrm>
            <a:off x="5402931" y="6671358"/>
            <a:ext cx="90000" cy="9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EAE8916E-2232-9A74-B691-B5C0A3D62B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953222"/>
            <a:ext cx="1421476" cy="314718"/>
          </a:xfrm>
          <a:prstGeom prst="rect">
            <a:avLst/>
          </a:prstGeom>
        </p:spPr>
      </p:pic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A23B22FF-8652-1C93-E080-0A61DCDD4B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2561613"/>
            <a:ext cx="5248419" cy="2862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400">
                <a:solidFill>
                  <a:schemeClr val="accent4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Naam van document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921747EF-2F13-1756-24F4-186E95210E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2857921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4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FEFA122-C2A5-753E-616B-15DB01B0BC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827" y="6081353"/>
            <a:ext cx="5248419" cy="2308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>
                <a:solidFill>
                  <a:schemeClr val="accent4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© Esprit ICT - 2024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959796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kant - Blau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375E580F-5AD3-E543-7B1A-0F636A2FC5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61242" y="0"/>
            <a:ext cx="4230757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0000" rIns="360000" bIns="360000" anchor="b"/>
          <a:lstStyle>
            <a:lvl1pPr marL="0" indent="0" algn="r">
              <a:buNone/>
              <a:defRPr sz="1200" b="0" i="0" kern="100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nl-NL"/>
              <a:t>Klik om afbeelding</a:t>
            </a:r>
            <a:br>
              <a:rPr lang="en-NL"/>
            </a:br>
            <a:r>
              <a:rPr lang="en-NL"/>
              <a:t>toe te voegen</a:t>
            </a:r>
            <a:endParaRPr lang="nl-NL"/>
          </a:p>
        </p:txBody>
      </p:sp>
      <p:sp>
        <p:nvSpPr>
          <p:cNvPr id="34" name="Shape">
            <a:extLst>
              <a:ext uri="{FF2B5EF4-FFF2-40B4-BE49-F238E27FC236}">
                <a16:creationId xmlns:a16="http://schemas.microsoft.com/office/drawing/2014/main" id="{D8CDA9A5-8E5B-32F6-01D9-008A4A3D5CD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  <a:moveTo>
                  <a:pt x="16026" y="400"/>
                </a:moveTo>
                <a:lnTo>
                  <a:pt x="21117" y="400"/>
                </a:lnTo>
                <a:cubicBezTo>
                  <a:pt x="21155" y="400"/>
                  <a:pt x="21185" y="400"/>
                  <a:pt x="21210" y="402"/>
                </a:cubicBezTo>
                <a:cubicBezTo>
                  <a:pt x="21234" y="405"/>
                  <a:pt x="21253" y="411"/>
                  <a:pt x="21268" y="422"/>
                </a:cubicBezTo>
                <a:cubicBezTo>
                  <a:pt x="21290" y="437"/>
                  <a:pt x="21310" y="459"/>
                  <a:pt x="21326" y="488"/>
                </a:cubicBezTo>
                <a:cubicBezTo>
                  <a:pt x="21342" y="516"/>
                  <a:pt x="21354" y="551"/>
                  <a:pt x="21362" y="589"/>
                </a:cubicBezTo>
                <a:cubicBezTo>
                  <a:pt x="21369" y="616"/>
                  <a:pt x="21372" y="650"/>
                  <a:pt x="21374" y="694"/>
                </a:cubicBezTo>
                <a:cubicBezTo>
                  <a:pt x="21375" y="737"/>
                  <a:pt x="21375" y="791"/>
                  <a:pt x="21375" y="859"/>
                </a:cubicBezTo>
                <a:lnTo>
                  <a:pt x="21375" y="20741"/>
                </a:lnTo>
                <a:cubicBezTo>
                  <a:pt x="21375" y="20809"/>
                  <a:pt x="21375" y="20863"/>
                  <a:pt x="21374" y="20906"/>
                </a:cubicBezTo>
                <a:cubicBezTo>
                  <a:pt x="21372" y="20950"/>
                  <a:pt x="21369" y="20984"/>
                  <a:pt x="21362" y="21011"/>
                </a:cubicBezTo>
                <a:cubicBezTo>
                  <a:pt x="21354" y="21049"/>
                  <a:pt x="21342" y="21084"/>
                  <a:pt x="21326" y="21112"/>
                </a:cubicBezTo>
                <a:cubicBezTo>
                  <a:pt x="21310" y="21141"/>
                  <a:pt x="21290" y="21163"/>
                  <a:pt x="21268" y="21178"/>
                </a:cubicBezTo>
                <a:cubicBezTo>
                  <a:pt x="21253" y="21189"/>
                  <a:pt x="21234" y="21195"/>
                  <a:pt x="21210" y="21198"/>
                </a:cubicBezTo>
                <a:cubicBezTo>
                  <a:pt x="21185" y="21200"/>
                  <a:pt x="21155" y="21200"/>
                  <a:pt x="21117" y="21200"/>
                </a:cubicBezTo>
                <a:lnTo>
                  <a:pt x="14935" y="21200"/>
                </a:lnTo>
                <a:lnTo>
                  <a:pt x="14359" y="16154"/>
                </a:lnTo>
                <a:cubicBezTo>
                  <a:pt x="15183" y="14487"/>
                  <a:pt x="15816" y="12506"/>
                  <a:pt x="16194" y="10311"/>
                </a:cubicBezTo>
                <a:cubicBezTo>
                  <a:pt x="16752" y="7064"/>
                  <a:pt x="16693" y="3581"/>
                  <a:pt x="16026" y="400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90000"/>
              </a:lnSpc>
              <a:defRPr sz="4000" b="1">
                <a:solidFill>
                  <a:schemeClr val="accent6"/>
                </a:solidFill>
                <a:latin typeface="+mn-lt"/>
                <a:ea typeface="+mn-ea"/>
                <a:cs typeface="+mn-cs"/>
                <a:sym typeface="BricolageGrotesque-96ptExtraBold_Bold"/>
              </a:defRPr>
            </a:pPr>
            <a:endParaRPr/>
          </a:p>
        </p:txBody>
      </p:sp>
      <p:sp>
        <p:nvSpPr>
          <p:cNvPr id="35" name="Shape">
            <a:extLst>
              <a:ext uri="{FF2B5EF4-FFF2-40B4-BE49-F238E27FC236}">
                <a16:creationId xmlns:a16="http://schemas.microsoft.com/office/drawing/2014/main" id="{8353F255-649E-967B-F928-E4182EB432E1}"/>
              </a:ext>
            </a:extLst>
          </p:cNvPr>
          <p:cNvSpPr/>
          <p:nvPr userDrawn="1"/>
        </p:nvSpPr>
        <p:spPr>
          <a:xfrm>
            <a:off x="127000" y="127000"/>
            <a:ext cx="9013431" cy="66040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349" y="0"/>
                </a:moveTo>
                <a:cubicBezTo>
                  <a:pt x="298" y="0"/>
                  <a:pt x="256" y="0"/>
                  <a:pt x="223" y="3"/>
                </a:cubicBezTo>
                <a:cubicBezTo>
                  <a:pt x="190" y="6"/>
                  <a:pt x="165" y="12"/>
                  <a:pt x="144" y="24"/>
                </a:cubicBezTo>
                <a:cubicBezTo>
                  <a:pt x="115" y="38"/>
                  <a:pt x="88" y="62"/>
                  <a:pt x="67" y="91"/>
                </a:cubicBezTo>
                <a:cubicBezTo>
                  <a:pt x="45" y="121"/>
                  <a:pt x="28" y="157"/>
                  <a:pt x="17" y="197"/>
                </a:cubicBezTo>
                <a:cubicBezTo>
                  <a:pt x="9" y="225"/>
                  <a:pt x="4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4" y="21340"/>
                  <a:pt x="9" y="21375"/>
                  <a:pt x="17" y="21403"/>
                </a:cubicBezTo>
                <a:cubicBezTo>
                  <a:pt x="28" y="21443"/>
                  <a:pt x="45" y="21479"/>
                  <a:pt x="67" y="21509"/>
                </a:cubicBezTo>
                <a:cubicBezTo>
                  <a:pt x="88" y="21538"/>
                  <a:pt x="115" y="21562"/>
                  <a:pt x="144" y="21576"/>
                </a:cubicBezTo>
                <a:cubicBezTo>
                  <a:pt x="165" y="21588"/>
                  <a:pt x="190" y="21594"/>
                  <a:pt x="223" y="21597"/>
                </a:cubicBezTo>
                <a:cubicBezTo>
                  <a:pt x="223" y="21597"/>
                  <a:pt x="224" y="21597"/>
                  <a:pt x="224" y="21597"/>
                </a:cubicBezTo>
                <a:cubicBezTo>
                  <a:pt x="257" y="21600"/>
                  <a:pt x="298" y="21600"/>
                  <a:pt x="349" y="21600"/>
                </a:cubicBezTo>
                <a:cubicBezTo>
                  <a:pt x="349" y="21600"/>
                  <a:pt x="349" y="21600"/>
                  <a:pt x="349" y="21600"/>
                </a:cubicBezTo>
                <a:lnTo>
                  <a:pt x="10675" y="21600"/>
                </a:lnTo>
                <a:lnTo>
                  <a:pt x="12452" y="21600"/>
                </a:lnTo>
                <a:cubicBezTo>
                  <a:pt x="12503" y="21600"/>
                  <a:pt x="12543" y="21600"/>
                  <a:pt x="12577" y="21597"/>
                </a:cubicBezTo>
                <a:cubicBezTo>
                  <a:pt x="12592" y="21596"/>
                  <a:pt x="12602" y="21590"/>
                  <a:pt x="12614" y="21587"/>
                </a:cubicBezTo>
                <a:lnTo>
                  <a:pt x="12616" y="21593"/>
                </a:lnTo>
                <a:cubicBezTo>
                  <a:pt x="13898" y="21210"/>
                  <a:pt x="15105" y="20552"/>
                  <a:pt x="16201" y="19665"/>
                </a:cubicBezTo>
                <a:cubicBezTo>
                  <a:pt x="17296" y="18778"/>
                  <a:pt x="18281" y="17661"/>
                  <a:pt x="19119" y="16360"/>
                </a:cubicBezTo>
                <a:lnTo>
                  <a:pt x="16688" y="6"/>
                </a:lnTo>
                <a:lnTo>
                  <a:pt x="12579" y="2"/>
                </a:lnTo>
                <a:lnTo>
                  <a:pt x="12579" y="4"/>
                </a:lnTo>
                <a:cubicBezTo>
                  <a:pt x="12578" y="3"/>
                  <a:pt x="12578" y="3"/>
                  <a:pt x="12577" y="3"/>
                </a:cubicBezTo>
                <a:cubicBezTo>
                  <a:pt x="12543" y="0"/>
                  <a:pt x="12503" y="0"/>
                  <a:pt x="12452" y="0"/>
                </a:cubicBezTo>
                <a:lnTo>
                  <a:pt x="7327" y="0"/>
                </a:lnTo>
                <a:lnTo>
                  <a:pt x="349" y="0"/>
                </a:lnTo>
                <a:close/>
                <a:moveTo>
                  <a:pt x="19119" y="16360"/>
                </a:moveTo>
                <a:lnTo>
                  <a:pt x="21600" y="10292"/>
                </a:lnTo>
                <a:lnTo>
                  <a:pt x="19119" y="16360"/>
                </a:lnTo>
                <a:close/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8599E69-5CE2-F57F-67C0-415CCB6CA917}"/>
              </a:ext>
            </a:extLst>
          </p:cNvPr>
          <p:cNvSpPr>
            <a:spLocks noChangeAspect="1"/>
          </p:cNvSpPr>
          <p:nvPr userDrawn="1"/>
        </p:nvSpPr>
        <p:spPr>
          <a:xfrm>
            <a:off x="8995282" y="96642"/>
            <a:ext cx="90000" cy="90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63628C5-3487-C50E-BE4F-B4853FEE1D83}"/>
              </a:ext>
            </a:extLst>
          </p:cNvPr>
          <p:cNvSpPr>
            <a:spLocks noChangeAspect="1"/>
          </p:cNvSpPr>
          <p:nvPr userDrawn="1"/>
        </p:nvSpPr>
        <p:spPr>
          <a:xfrm>
            <a:off x="5402931" y="6671358"/>
            <a:ext cx="90000" cy="90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EAE8916E-2232-9A74-B691-B5C0A3D62B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953222"/>
            <a:ext cx="1421476" cy="314718"/>
          </a:xfrm>
          <a:prstGeom prst="rect">
            <a:avLst/>
          </a:prstGeom>
        </p:spPr>
      </p:pic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A23B22FF-8652-1C93-E080-0A61DCDD4B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2561613"/>
            <a:ext cx="5248419" cy="2862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400">
                <a:solidFill>
                  <a:schemeClr val="accent6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Naam van document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921747EF-2F13-1756-24F4-186E95210E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2857921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6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FEFA122-C2A5-753E-616B-15DB01B0BC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827" y="6081353"/>
            <a:ext cx="5248419" cy="2308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© Esprit ICT - 2024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57410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4044">
          <p15:clr>
            <a:srgbClr val="FBAE40"/>
          </p15:clr>
        </p15:guide>
        <p15:guide id="10" pos="363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 - Oranj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">
            <a:extLst>
              <a:ext uri="{FF2B5EF4-FFF2-40B4-BE49-F238E27FC236}">
                <a16:creationId xmlns:a16="http://schemas.microsoft.com/office/drawing/2014/main" id="{F02C95B8-05D0-7898-EDE6-7E2ADF86821E}"/>
              </a:ext>
            </a:extLst>
          </p:cNvPr>
          <p:cNvSpPr/>
          <p:nvPr userDrawn="1"/>
        </p:nvSpPr>
        <p:spPr>
          <a:xfrm rot="10800000" flipH="1">
            <a:off x="140960" y="143217"/>
            <a:ext cx="11924040" cy="65962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263" y="0"/>
                </a:moveTo>
                <a:cubicBezTo>
                  <a:pt x="225" y="0"/>
                  <a:pt x="194" y="0"/>
                  <a:pt x="169" y="3"/>
                </a:cubicBezTo>
                <a:cubicBezTo>
                  <a:pt x="143" y="6"/>
                  <a:pt x="124" y="12"/>
                  <a:pt x="109" y="24"/>
                </a:cubicBezTo>
                <a:cubicBezTo>
                  <a:pt x="87" y="38"/>
                  <a:pt x="67" y="62"/>
                  <a:pt x="50" y="91"/>
                </a:cubicBezTo>
                <a:cubicBezTo>
                  <a:pt x="34" y="121"/>
                  <a:pt x="21" y="157"/>
                  <a:pt x="13" y="197"/>
                </a:cubicBezTo>
                <a:cubicBezTo>
                  <a:pt x="7" y="225"/>
                  <a:pt x="3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3" y="21340"/>
                  <a:pt x="7" y="21375"/>
                  <a:pt x="13" y="21403"/>
                </a:cubicBezTo>
                <a:cubicBezTo>
                  <a:pt x="21" y="21443"/>
                  <a:pt x="34" y="21479"/>
                  <a:pt x="50" y="21509"/>
                </a:cubicBezTo>
                <a:cubicBezTo>
                  <a:pt x="67" y="21538"/>
                  <a:pt x="87" y="21562"/>
                  <a:pt x="109" y="21576"/>
                </a:cubicBezTo>
                <a:cubicBezTo>
                  <a:pt x="124" y="21588"/>
                  <a:pt x="143" y="21595"/>
                  <a:pt x="169" y="21597"/>
                </a:cubicBezTo>
                <a:cubicBezTo>
                  <a:pt x="169" y="21597"/>
                  <a:pt x="169" y="21597"/>
                  <a:pt x="169" y="21597"/>
                </a:cubicBezTo>
                <a:cubicBezTo>
                  <a:pt x="194" y="21599"/>
                  <a:pt x="225" y="21600"/>
                  <a:pt x="263" y="21600"/>
                </a:cubicBezTo>
                <a:cubicBezTo>
                  <a:pt x="263" y="21600"/>
                  <a:pt x="264" y="21600"/>
                  <a:pt x="264" y="21600"/>
                </a:cubicBezTo>
                <a:lnTo>
                  <a:pt x="7428" y="21600"/>
                </a:lnTo>
                <a:lnTo>
                  <a:pt x="8769" y="21600"/>
                </a:lnTo>
                <a:cubicBezTo>
                  <a:pt x="8808" y="21600"/>
                  <a:pt x="8839" y="21600"/>
                  <a:pt x="8864" y="21597"/>
                </a:cubicBezTo>
                <a:cubicBezTo>
                  <a:pt x="8876" y="21596"/>
                  <a:pt x="8883" y="21590"/>
                  <a:pt x="8892" y="21587"/>
                </a:cubicBezTo>
                <a:lnTo>
                  <a:pt x="8893" y="21593"/>
                </a:lnTo>
                <a:cubicBezTo>
                  <a:pt x="9861" y="21210"/>
                  <a:pt x="10772" y="20552"/>
                  <a:pt x="11600" y="19665"/>
                </a:cubicBezTo>
                <a:cubicBezTo>
                  <a:pt x="12427" y="18778"/>
                  <a:pt x="13170" y="17661"/>
                  <a:pt x="13803" y="16360"/>
                </a:cubicBezTo>
                <a:lnTo>
                  <a:pt x="11968" y="6"/>
                </a:lnTo>
                <a:lnTo>
                  <a:pt x="8866" y="2"/>
                </a:lnTo>
                <a:lnTo>
                  <a:pt x="8866" y="4"/>
                </a:lnTo>
                <a:cubicBezTo>
                  <a:pt x="8865" y="3"/>
                  <a:pt x="8864" y="3"/>
                  <a:pt x="8864" y="3"/>
                </a:cubicBezTo>
                <a:cubicBezTo>
                  <a:pt x="8839" y="0"/>
                  <a:pt x="8808" y="0"/>
                  <a:pt x="8769" y="0"/>
                </a:cubicBezTo>
                <a:lnTo>
                  <a:pt x="4900" y="0"/>
                </a:lnTo>
                <a:lnTo>
                  <a:pt x="263" y="0"/>
                </a:lnTo>
                <a:close/>
                <a:moveTo>
                  <a:pt x="13803" y="16360"/>
                </a:moveTo>
                <a:lnTo>
                  <a:pt x="14391" y="21600"/>
                </a:lnTo>
                <a:lnTo>
                  <a:pt x="21336" y="21600"/>
                </a:lnTo>
                <a:cubicBezTo>
                  <a:pt x="21375" y="21600"/>
                  <a:pt x="21406" y="21600"/>
                  <a:pt x="21431" y="21597"/>
                </a:cubicBezTo>
                <a:cubicBezTo>
                  <a:pt x="21456" y="21594"/>
                  <a:pt x="21476" y="21588"/>
                  <a:pt x="21491" y="21576"/>
                </a:cubicBezTo>
                <a:cubicBezTo>
                  <a:pt x="21513" y="21562"/>
                  <a:pt x="21533" y="21538"/>
                  <a:pt x="21550" y="21509"/>
                </a:cubicBezTo>
                <a:cubicBezTo>
                  <a:pt x="21566" y="21479"/>
                  <a:pt x="21579" y="21443"/>
                  <a:pt x="21587" y="21403"/>
                </a:cubicBezTo>
                <a:cubicBezTo>
                  <a:pt x="21593" y="21375"/>
                  <a:pt x="21597" y="21340"/>
                  <a:pt x="21598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8" y="305"/>
                </a:cubicBezTo>
                <a:cubicBezTo>
                  <a:pt x="21597" y="260"/>
                  <a:pt x="21593" y="225"/>
                  <a:pt x="21587" y="197"/>
                </a:cubicBezTo>
                <a:cubicBezTo>
                  <a:pt x="21579" y="157"/>
                  <a:pt x="21566" y="121"/>
                  <a:pt x="21550" y="91"/>
                </a:cubicBezTo>
                <a:cubicBezTo>
                  <a:pt x="21533" y="62"/>
                  <a:pt x="21513" y="38"/>
                  <a:pt x="21491" y="24"/>
                </a:cubicBezTo>
                <a:cubicBezTo>
                  <a:pt x="21476" y="12"/>
                  <a:pt x="21456" y="6"/>
                  <a:pt x="21431" y="3"/>
                </a:cubicBezTo>
                <a:cubicBezTo>
                  <a:pt x="21406" y="0"/>
                  <a:pt x="21375" y="0"/>
                  <a:pt x="21336" y="0"/>
                </a:cubicBezTo>
                <a:lnTo>
                  <a:pt x="15505" y="0"/>
                </a:lnTo>
                <a:cubicBezTo>
                  <a:pt x="16187" y="3303"/>
                  <a:pt x="16247" y="6921"/>
                  <a:pt x="15676" y="10292"/>
                </a:cubicBezTo>
                <a:cubicBezTo>
                  <a:pt x="15291" y="12571"/>
                  <a:pt x="14645" y="14629"/>
                  <a:pt x="13803" y="16360"/>
                </a:cubicBezTo>
                <a:close/>
              </a:path>
            </a:pathLst>
          </a:custGeom>
          <a:solidFill>
            <a:schemeClr val="bg2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2" name="Shape">
            <a:extLst>
              <a:ext uri="{FF2B5EF4-FFF2-40B4-BE49-F238E27FC236}">
                <a16:creationId xmlns:a16="http://schemas.microsoft.com/office/drawing/2014/main" id="{614C8C22-2D45-C1B1-AD2E-94C3F0894549}"/>
              </a:ext>
            </a:extLst>
          </p:cNvPr>
          <p:cNvSpPr/>
          <p:nvPr userDrawn="1"/>
        </p:nvSpPr>
        <p:spPr>
          <a:xfrm rot="10800000" flipH="1">
            <a:off x="7733654" y="151784"/>
            <a:ext cx="4330725" cy="65791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0" y="16375"/>
                </a:moveTo>
                <a:lnTo>
                  <a:pt x="17" y="16360"/>
                </a:lnTo>
                <a:lnTo>
                  <a:pt x="0" y="16375"/>
                </a:lnTo>
                <a:close/>
                <a:moveTo>
                  <a:pt x="17" y="16360"/>
                </a:moveTo>
                <a:lnTo>
                  <a:pt x="1637" y="21600"/>
                </a:lnTo>
                <a:lnTo>
                  <a:pt x="20873" y="21600"/>
                </a:lnTo>
                <a:cubicBezTo>
                  <a:pt x="20980" y="21600"/>
                  <a:pt x="21065" y="21600"/>
                  <a:pt x="21134" y="21597"/>
                </a:cubicBezTo>
                <a:cubicBezTo>
                  <a:pt x="21204" y="21594"/>
                  <a:pt x="21257" y="21588"/>
                  <a:pt x="21300" y="21576"/>
                </a:cubicBezTo>
                <a:cubicBezTo>
                  <a:pt x="21361" y="21562"/>
                  <a:pt x="21416" y="21538"/>
                  <a:pt x="21461" y="21509"/>
                </a:cubicBezTo>
                <a:cubicBezTo>
                  <a:pt x="21506" y="21479"/>
                  <a:pt x="21542" y="21443"/>
                  <a:pt x="21564" y="21403"/>
                </a:cubicBezTo>
                <a:cubicBezTo>
                  <a:pt x="21582" y="21375"/>
                  <a:pt x="21591" y="21340"/>
                  <a:pt x="21596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6" y="305"/>
                </a:cubicBezTo>
                <a:cubicBezTo>
                  <a:pt x="21591" y="260"/>
                  <a:pt x="21582" y="225"/>
                  <a:pt x="21564" y="197"/>
                </a:cubicBezTo>
                <a:cubicBezTo>
                  <a:pt x="21542" y="157"/>
                  <a:pt x="21506" y="121"/>
                  <a:pt x="21461" y="91"/>
                </a:cubicBezTo>
                <a:cubicBezTo>
                  <a:pt x="21416" y="62"/>
                  <a:pt x="21361" y="38"/>
                  <a:pt x="21300" y="24"/>
                </a:cubicBezTo>
                <a:cubicBezTo>
                  <a:pt x="21257" y="12"/>
                  <a:pt x="21204" y="6"/>
                  <a:pt x="21134" y="3"/>
                </a:cubicBezTo>
                <a:cubicBezTo>
                  <a:pt x="21065" y="0"/>
                  <a:pt x="20980" y="0"/>
                  <a:pt x="20873" y="0"/>
                </a:cubicBezTo>
                <a:lnTo>
                  <a:pt x="4708" y="0"/>
                </a:lnTo>
                <a:cubicBezTo>
                  <a:pt x="6586" y="3303"/>
                  <a:pt x="6752" y="6921"/>
                  <a:pt x="5180" y="10292"/>
                </a:cubicBezTo>
                <a:cubicBezTo>
                  <a:pt x="4117" y="12571"/>
                  <a:pt x="2337" y="14629"/>
                  <a:pt x="17" y="16360"/>
                </a:cubicBezTo>
                <a:close/>
              </a:path>
            </a:pathLst>
          </a:custGeom>
          <a:solidFill>
            <a:schemeClr val="tx2"/>
          </a:solidFill>
          <a:ln w="38100">
            <a:solidFill>
              <a:schemeClr val="bg2"/>
            </a:solidFill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F857B95-D70C-CC5B-9CA1-1A5444B6076E}"/>
              </a:ext>
            </a:extLst>
          </p:cNvPr>
          <p:cNvSpPr>
            <a:spLocks noChangeAspect="1"/>
          </p:cNvSpPr>
          <p:nvPr userDrawn="1"/>
        </p:nvSpPr>
        <p:spPr>
          <a:xfrm>
            <a:off x="8637736" y="6671358"/>
            <a:ext cx="90000" cy="90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0EF1146-B430-9F95-A470-46195F55D593}"/>
              </a:ext>
            </a:extLst>
          </p:cNvPr>
          <p:cNvSpPr txBox="1"/>
          <p:nvPr userDrawn="1"/>
        </p:nvSpPr>
        <p:spPr>
          <a:xfrm rot="16868678">
            <a:off x="7410406" y="751572"/>
            <a:ext cx="13640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GB" sz="2400" err="1">
                <a:solidFill>
                  <a:schemeClr val="bg2"/>
                </a:solidFill>
                <a:latin typeface="Caveat" pitchFamily="2" charset="0"/>
                <a:cs typeface="Archivo" pitchFamily="2" charset="77"/>
              </a:rPr>
              <a:t>waaronder</a:t>
            </a:r>
            <a:r>
              <a:rPr lang="en-GB" sz="2400">
                <a:solidFill>
                  <a:schemeClr val="bg2"/>
                </a:solidFill>
                <a:latin typeface="Caveat" pitchFamily="2" charset="0"/>
                <a:cs typeface="Archivo" pitchFamily="2" charset="77"/>
              </a:rPr>
              <a:t>:</a:t>
            </a:r>
            <a:endParaRPr lang="en-NL" sz="2400">
              <a:solidFill>
                <a:schemeClr val="bg2"/>
              </a:solidFill>
              <a:latin typeface="Caveat" pitchFamily="2" charset="0"/>
              <a:cs typeface="Archivo" pitchFamily="2" charset="77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0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tx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14" name="Text Placeholder 36">
            <a:extLst>
              <a:ext uri="{FF2B5EF4-FFF2-40B4-BE49-F238E27FC236}">
                <a16:creationId xmlns:a16="http://schemas.microsoft.com/office/drawing/2014/main" id="{4A19016A-0CE8-8A5A-A325-E4142EEE35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6251" y="4709821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6</a:t>
            </a:r>
            <a:endParaRPr lang="en-NL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AAB6954B-E123-1E87-F10D-3147C09E22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59311" y="5109215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1" name="Text Placeholder 36">
            <a:extLst>
              <a:ext uri="{FF2B5EF4-FFF2-40B4-BE49-F238E27FC236}">
                <a16:creationId xmlns:a16="http://schemas.microsoft.com/office/drawing/2014/main" id="{4EBD589E-A9EB-A223-4927-08C2FA2C31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08942" y="518726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1</a:t>
            </a:r>
            <a:endParaRPr lang="en-NL"/>
          </a:p>
        </p:txBody>
      </p:sp>
      <p:sp>
        <p:nvSpPr>
          <p:cNvPr id="22" name="Text Placeholder 36">
            <a:extLst>
              <a:ext uri="{FF2B5EF4-FFF2-40B4-BE49-F238E27FC236}">
                <a16:creationId xmlns:a16="http://schemas.microsoft.com/office/drawing/2014/main" id="{3878E9F5-2CEC-6E56-DFAB-F0C3787D8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72002" y="918120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36" name="Text Placeholder 36">
            <a:extLst>
              <a:ext uri="{FF2B5EF4-FFF2-40B4-BE49-F238E27FC236}">
                <a16:creationId xmlns:a16="http://schemas.microsoft.com/office/drawing/2014/main" id="{CEDB5784-4D16-5239-D1D6-8CE50EB210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05228" y="1358040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2</a:t>
            </a:r>
            <a:endParaRPr lang="en-NL"/>
          </a:p>
        </p:txBody>
      </p:sp>
      <p:sp>
        <p:nvSpPr>
          <p:cNvPr id="40" name="Text Placeholder 36">
            <a:extLst>
              <a:ext uri="{FF2B5EF4-FFF2-40B4-BE49-F238E27FC236}">
                <a16:creationId xmlns:a16="http://schemas.microsoft.com/office/drawing/2014/main" id="{CF53F423-E723-B18E-8E9C-8D18006113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68288" y="1757434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41" name="Text Placeholder 36">
            <a:extLst>
              <a:ext uri="{FF2B5EF4-FFF2-40B4-BE49-F238E27FC236}">
                <a16:creationId xmlns:a16="http://schemas.microsoft.com/office/drawing/2014/main" id="{1A811AF9-F5BF-A01C-6F68-E099A2AAD8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2664" y="2199359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3</a:t>
            </a:r>
            <a:endParaRPr lang="en-NL"/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2488B0A4-2B9D-00CB-D734-4E3C27F8989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75724" y="2598753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46" name="Text Placeholder 36">
            <a:extLst>
              <a:ext uri="{FF2B5EF4-FFF2-40B4-BE49-F238E27FC236}">
                <a16:creationId xmlns:a16="http://schemas.microsoft.com/office/drawing/2014/main" id="{34121694-6193-BA62-D951-F27ED5FADC0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1514" y="3044398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4</a:t>
            </a:r>
            <a:endParaRPr lang="en-NL"/>
          </a:p>
        </p:txBody>
      </p:sp>
      <p:sp>
        <p:nvSpPr>
          <p:cNvPr id="47" name="Text Placeholder 36">
            <a:extLst>
              <a:ext uri="{FF2B5EF4-FFF2-40B4-BE49-F238E27FC236}">
                <a16:creationId xmlns:a16="http://schemas.microsoft.com/office/drawing/2014/main" id="{0183FDB2-77E5-9C5F-07B1-C774A359353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64574" y="3443792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48" name="Text Placeholder 36">
            <a:extLst>
              <a:ext uri="{FF2B5EF4-FFF2-40B4-BE49-F238E27FC236}">
                <a16:creationId xmlns:a16="http://schemas.microsoft.com/office/drawing/2014/main" id="{B55CE84D-EF89-5F19-A00D-0B45BAE4ECB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8950" y="3885717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5</a:t>
            </a:r>
            <a:endParaRPr lang="en-NL"/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D7532187-62A0-B7EC-AFCE-6C2861247B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72010" y="4285111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3DA0C48-0FD8-CBF1-46DD-1DBA9C39FE7E}"/>
              </a:ext>
            </a:extLst>
          </p:cNvPr>
          <p:cNvSpPr>
            <a:spLocks noChangeAspect="1"/>
          </p:cNvSpPr>
          <p:nvPr userDrawn="1"/>
        </p:nvSpPr>
        <p:spPr>
          <a:xfrm>
            <a:off x="4974117" y="96642"/>
            <a:ext cx="90000" cy="90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58" name="Text Placeholder 36">
            <a:extLst>
              <a:ext uri="{FF2B5EF4-FFF2-40B4-BE49-F238E27FC236}">
                <a16:creationId xmlns:a16="http://schemas.microsoft.com/office/drawing/2014/main" id="{7D4CD169-84BF-A5F3-2CC2-58E503E128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2347" y="5557165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7</a:t>
            </a:r>
            <a:endParaRPr lang="en-NL"/>
          </a:p>
        </p:txBody>
      </p:sp>
      <p:sp>
        <p:nvSpPr>
          <p:cNvPr id="59" name="Text Placeholder 36">
            <a:extLst>
              <a:ext uri="{FF2B5EF4-FFF2-40B4-BE49-F238E27FC236}">
                <a16:creationId xmlns:a16="http://schemas.microsoft.com/office/drawing/2014/main" id="{292D0E87-B88B-7A99-FC59-33A8C995B03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65407" y="5956559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62374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 - Roz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">
            <a:extLst>
              <a:ext uri="{FF2B5EF4-FFF2-40B4-BE49-F238E27FC236}">
                <a16:creationId xmlns:a16="http://schemas.microsoft.com/office/drawing/2014/main" id="{F02C95B8-05D0-7898-EDE6-7E2ADF86821E}"/>
              </a:ext>
            </a:extLst>
          </p:cNvPr>
          <p:cNvSpPr/>
          <p:nvPr userDrawn="1"/>
        </p:nvSpPr>
        <p:spPr>
          <a:xfrm rot="10800000" flipH="1">
            <a:off x="140960" y="147897"/>
            <a:ext cx="11924040" cy="6591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263" y="0"/>
                </a:moveTo>
                <a:cubicBezTo>
                  <a:pt x="225" y="0"/>
                  <a:pt x="194" y="0"/>
                  <a:pt x="169" y="3"/>
                </a:cubicBezTo>
                <a:cubicBezTo>
                  <a:pt x="143" y="6"/>
                  <a:pt x="124" y="12"/>
                  <a:pt x="109" y="24"/>
                </a:cubicBezTo>
                <a:cubicBezTo>
                  <a:pt x="87" y="38"/>
                  <a:pt x="67" y="62"/>
                  <a:pt x="50" y="91"/>
                </a:cubicBezTo>
                <a:cubicBezTo>
                  <a:pt x="34" y="121"/>
                  <a:pt x="21" y="157"/>
                  <a:pt x="13" y="197"/>
                </a:cubicBezTo>
                <a:cubicBezTo>
                  <a:pt x="7" y="225"/>
                  <a:pt x="3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3" y="21340"/>
                  <a:pt x="7" y="21375"/>
                  <a:pt x="13" y="21403"/>
                </a:cubicBezTo>
                <a:cubicBezTo>
                  <a:pt x="21" y="21443"/>
                  <a:pt x="34" y="21479"/>
                  <a:pt x="50" y="21509"/>
                </a:cubicBezTo>
                <a:cubicBezTo>
                  <a:pt x="67" y="21538"/>
                  <a:pt x="87" y="21562"/>
                  <a:pt x="109" y="21576"/>
                </a:cubicBezTo>
                <a:cubicBezTo>
                  <a:pt x="124" y="21588"/>
                  <a:pt x="143" y="21595"/>
                  <a:pt x="169" y="21597"/>
                </a:cubicBezTo>
                <a:cubicBezTo>
                  <a:pt x="169" y="21597"/>
                  <a:pt x="169" y="21597"/>
                  <a:pt x="169" y="21597"/>
                </a:cubicBezTo>
                <a:cubicBezTo>
                  <a:pt x="194" y="21599"/>
                  <a:pt x="225" y="21600"/>
                  <a:pt x="263" y="21600"/>
                </a:cubicBezTo>
                <a:cubicBezTo>
                  <a:pt x="263" y="21600"/>
                  <a:pt x="264" y="21600"/>
                  <a:pt x="264" y="21600"/>
                </a:cubicBezTo>
                <a:lnTo>
                  <a:pt x="7428" y="21600"/>
                </a:lnTo>
                <a:lnTo>
                  <a:pt x="8769" y="21600"/>
                </a:lnTo>
                <a:cubicBezTo>
                  <a:pt x="8808" y="21600"/>
                  <a:pt x="8839" y="21600"/>
                  <a:pt x="8864" y="21597"/>
                </a:cubicBezTo>
                <a:cubicBezTo>
                  <a:pt x="8876" y="21596"/>
                  <a:pt x="8883" y="21590"/>
                  <a:pt x="8892" y="21587"/>
                </a:cubicBezTo>
                <a:lnTo>
                  <a:pt x="8893" y="21593"/>
                </a:lnTo>
                <a:cubicBezTo>
                  <a:pt x="9861" y="21210"/>
                  <a:pt x="10772" y="20552"/>
                  <a:pt x="11600" y="19665"/>
                </a:cubicBezTo>
                <a:cubicBezTo>
                  <a:pt x="12427" y="18778"/>
                  <a:pt x="13170" y="17661"/>
                  <a:pt x="13803" y="16360"/>
                </a:cubicBezTo>
                <a:lnTo>
                  <a:pt x="11968" y="6"/>
                </a:lnTo>
                <a:lnTo>
                  <a:pt x="8866" y="2"/>
                </a:lnTo>
                <a:lnTo>
                  <a:pt x="8866" y="4"/>
                </a:lnTo>
                <a:cubicBezTo>
                  <a:pt x="8865" y="3"/>
                  <a:pt x="8864" y="3"/>
                  <a:pt x="8864" y="3"/>
                </a:cubicBezTo>
                <a:cubicBezTo>
                  <a:pt x="8839" y="0"/>
                  <a:pt x="8808" y="0"/>
                  <a:pt x="8769" y="0"/>
                </a:cubicBezTo>
                <a:lnTo>
                  <a:pt x="4900" y="0"/>
                </a:lnTo>
                <a:lnTo>
                  <a:pt x="263" y="0"/>
                </a:lnTo>
                <a:close/>
                <a:moveTo>
                  <a:pt x="13803" y="16360"/>
                </a:moveTo>
                <a:lnTo>
                  <a:pt x="14391" y="21600"/>
                </a:lnTo>
                <a:lnTo>
                  <a:pt x="21336" y="21600"/>
                </a:lnTo>
                <a:cubicBezTo>
                  <a:pt x="21375" y="21600"/>
                  <a:pt x="21406" y="21600"/>
                  <a:pt x="21431" y="21597"/>
                </a:cubicBezTo>
                <a:cubicBezTo>
                  <a:pt x="21456" y="21594"/>
                  <a:pt x="21476" y="21588"/>
                  <a:pt x="21491" y="21576"/>
                </a:cubicBezTo>
                <a:cubicBezTo>
                  <a:pt x="21513" y="21562"/>
                  <a:pt x="21533" y="21538"/>
                  <a:pt x="21550" y="21509"/>
                </a:cubicBezTo>
                <a:cubicBezTo>
                  <a:pt x="21566" y="21479"/>
                  <a:pt x="21579" y="21443"/>
                  <a:pt x="21587" y="21403"/>
                </a:cubicBezTo>
                <a:cubicBezTo>
                  <a:pt x="21593" y="21375"/>
                  <a:pt x="21597" y="21340"/>
                  <a:pt x="21598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8" y="305"/>
                </a:cubicBezTo>
                <a:cubicBezTo>
                  <a:pt x="21597" y="260"/>
                  <a:pt x="21593" y="225"/>
                  <a:pt x="21587" y="197"/>
                </a:cubicBezTo>
                <a:cubicBezTo>
                  <a:pt x="21579" y="157"/>
                  <a:pt x="21566" y="121"/>
                  <a:pt x="21550" y="91"/>
                </a:cubicBezTo>
                <a:cubicBezTo>
                  <a:pt x="21533" y="62"/>
                  <a:pt x="21513" y="38"/>
                  <a:pt x="21491" y="24"/>
                </a:cubicBezTo>
                <a:cubicBezTo>
                  <a:pt x="21476" y="12"/>
                  <a:pt x="21456" y="6"/>
                  <a:pt x="21431" y="3"/>
                </a:cubicBezTo>
                <a:cubicBezTo>
                  <a:pt x="21406" y="0"/>
                  <a:pt x="21375" y="0"/>
                  <a:pt x="21336" y="0"/>
                </a:cubicBezTo>
                <a:lnTo>
                  <a:pt x="15505" y="0"/>
                </a:lnTo>
                <a:cubicBezTo>
                  <a:pt x="16187" y="3303"/>
                  <a:pt x="16247" y="6921"/>
                  <a:pt x="15676" y="10292"/>
                </a:cubicBezTo>
                <a:cubicBezTo>
                  <a:pt x="15291" y="12571"/>
                  <a:pt x="14645" y="14629"/>
                  <a:pt x="13803" y="1636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B2D3C6BE-5532-20DA-6FD5-A135BE2C1446}"/>
              </a:ext>
            </a:extLst>
          </p:cNvPr>
          <p:cNvSpPr/>
          <p:nvPr userDrawn="1"/>
        </p:nvSpPr>
        <p:spPr>
          <a:xfrm rot="10800000" flipH="1">
            <a:off x="7733654" y="151784"/>
            <a:ext cx="4330725" cy="65791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0" y="16375"/>
                </a:moveTo>
                <a:lnTo>
                  <a:pt x="17" y="16360"/>
                </a:lnTo>
                <a:lnTo>
                  <a:pt x="0" y="16375"/>
                </a:lnTo>
                <a:close/>
                <a:moveTo>
                  <a:pt x="17" y="16360"/>
                </a:moveTo>
                <a:lnTo>
                  <a:pt x="1637" y="21600"/>
                </a:lnTo>
                <a:lnTo>
                  <a:pt x="20873" y="21600"/>
                </a:lnTo>
                <a:cubicBezTo>
                  <a:pt x="20980" y="21600"/>
                  <a:pt x="21065" y="21600"/>
                  <a:pt x="21134" y="21597"/>
                </a:cubicBezTo>
                <a:cubicBezTo>
                  <a:pt x="21204" y="21594"/>
                  <a:pt x="21257" y="21588"/>
                  <a:pt x="21300" y="21576"/>
                </a:cubicBezTo>
                <a:cubicBezTo>
                  <a:pt x="21361" y="21562"/>
                  <a:pt x="21416" y="21538"/>
                  <a:pt x="21461" y="21509"/>
                </a:cubicBezTo>
                <a:cubicBezTo>
                  <a:pt x="21506" y="21479"/>
                  <a:pt x="21542" y="21443"/>
                  <a:pt x="21564" y="21403"/>
                </a:cubicBezTo>
                <a:cubicBezTo>
                  <a:pt x="21582" y="21375"/>
                  <a:pt x="21591" y="21340"/>
                  <a:pt x="21596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6" y="305"/>
                </a:cubicBezTo>
                <a:cubicBezTo>
                  <a:pt x="21591" y="260"/>
                  <a:pt x="21582" y="225"/>
                  <a:pt x="21564" y="197"/>
                </a:cubicBezTo>
                <a:cubicBezTo>
                  <a:pt x="21542" y="157"/>
                  <a:pt x="21506" y="121"/>
                  <a:pt x="21461" y="91"/>
                </a:cubicBezTo>
                <a:cubicBezTo>
                  <a:pt x="21416" y="62"/>
                  <a:pt x="21361" y="38"/>
                  <a:pt x="21300" y="24"/>
                </a:cubicBezTo>
                <a:cubicBezTo>
                  <a:pt x="21257" y="12"/>
                  <a:pt x="21204" y="6"/>
                  <a:pt x="21134" y="3"/>
                </a:cubicBezTo>
                <a:cubicBezTo>
                  <a:pt x="21065" y="0"/>
                  <a:pt x="20980" y="0"/>
                  <a:pt x="20873" y="0"/>
                </a:cubicBezTo>
                <a:lnTo>
                  <a:pt x="4708" y="0"/>
                </a:lnTo>
                <a:cubicBezTo>
                  <a:pt x="6586" y="3303"/>
                  <a:pt x="6752" y="6921"/>
                  <a:pt x="5180" y="10292"/>
                </a:cubicBezTo>
                <a:cubicBezTo>
                  <a:pt x="4117" y="12571"/>
                  <a:pt x="2337" y="14629"/>
                  <a:pt x="17" y="16360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accent2"/>
            </a:solidFill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D90820B-FD17-95C0-08BA-9B5995D06C7E}"/>
              </a:ext>
            </a:extLst>
          </p:cNvPr>
          <p:cNvSpPr>
            <a:spLocks noChangeAspect="1"/>
          </p:cNvSpPr>
          <p:nvPr userDrawn="1"/>
        </p:nvSpPr>
        <p:spPr>
          <a:xfrm>
            <a:off x="8637736" y="6671358"/>
            <a:ext cx="90000" cy="900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B70699-B931-C207-D549-15E93C7C95DE}"/>
              </a:ext>
            </a:extLst>
          </p:cNvPr>
          <p:cNvSpPr txBox="1"/>
          <p:nvPr userDrawn="1"/>
        </p:nvSpPr>
        <p:spPr>
          <a:xfrm rot="16868678">
            <a:off x="7410406" y="751572"/>
            <a:ext cx="13640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GB" sz="2400" err="1">
                <a:solidFill>
                  <a:schemeClr val="accent2"/>
                </a:solidFill>
                <a:latin typeface="Caveat" pitchFamily="2" charset="0"/>
                <a:cs typeface="Archivo" pitchFamily="2" charset="77"/>
              </a:rPr>
              <a:t>waaronder</a:t>
            </a:r>
            <a:r>
              <a:rPr lang="en-GB" sz="2400">
                <a:solidFill>
                  <a:schemeClr val="accent2"/>
                </a:solidFill>
                <a:latin typeface="Caveat" pitchFamily="2" charset="0"/>
                <a:cs typeface="Archivo" pitchFamily="2" charset="77"/>
              </a:rPr>
              <a:t>:</a:t>
            </a:r>
            <a:endParaRPr lang="en-NL" sz="2400">
              <a:solidFill>
                <a:schemeClr val="accent2"/>
              </a:solidFill>
              <a:latin typeface="Caveat" pitchFamily="2" charset="0"/>
              <a:cs typeface="Archivo" pitchFamily="2" charset="77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0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3DA0C48-0FD8-CBF1-46DD-1DBA9C39FE7E}"/>
              </a:ext>
            </a:extLst>
          </p:cNvPr>
          <p:cNvSpPr>
            <a:spLocks noChangeAspect="1"/>
          </p:cNvSpPr>
          <p:nvPr userDrawn="1"/>
        </p:nvSpPr>
        <p:spPr>
          <a:xfrm>
            <a:off x="4974117" y="96642"/>
            <a:ext cx="90000" cy="900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56A10A41-3B00-73CE-EEC3-A5E8E7C2C8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6251" y="4709821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6</a:t>
            </a:r>
            <a:endParaRPr lang="en-NL"/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4A0DA507-5254-04D4-8215-D34A6F803F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59311" y="5109215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DA4BCC5F-FFA9-CF89-E984-23374E5F4A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08942" y="518726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1</a:t>
            </a:r>
            <a:endParaRPr lang="en-NL"/>
          </a:p>
        </p:txBody>
      </p:sp>
      <p:sp>
        <p:nvSpPr>
          <p:cNvPr id="6" name="Text Placeholder 36">
            <a:extLst>
              <a:ext uri="{FF2B5EF4-FFF2-40B4-BE49-F238E27FC236}">
                <a16:creationId xmlns:a16="http://schemas.microsoft.com/office/drawing/2014/main" id="{7C723C09-1745-53A3-6B2F-A94E6E23345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72002" y="918120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580FC8D1-DCF2-83DB-2692-E0C3395506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05228" y="1358040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2</a:t>
            </a:r>
            <a:endParaRPr lang="en-NL"/>
          </a:p>
        </p:txBody>
      </p:sp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14AF1E14-A7BE-0589-0E2B-C0E1E16A88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68288" y="1757434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376E6001-A0E2-2678-2D0D-7AA28F4B66F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2664" y="2199359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3</a:t>
            </a:r>
            <a:endParaRPr lang="en-NL"/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6E5DC077-73F7-DA71-A6F2-F8201EB8DD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75724" y="2598753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EA58A1BA-5934-AE04-CCAF-36086A90B27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1514" y="3044398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4</a:t>
            </a:r>
            <a:endParaRPr lang="en-NL"/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8A1CDFB5-C8D1-EE94-FC47-928C234D7CF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64574" y="3443792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0" name="Text Placeholder 36">
            <a:extLst>
              <a:ext uri="{FF2B5EF4-FFF2-40B4-BE49-F238E27FC236}">
                <a16:creationId xmlns:a16="http://schemas.microsoft.com/office/drawing/2014/main" id="{2B9DA2B4-45E2-35C8-1D58-9F114332D7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8950" y="3885717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5</a:t>
            </a:r>
            <a:endParaRPr lang="en-NL"/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DF26F2E2-2875-F813-073A-C4B1AE97D26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72010" y="4285111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4" name="Text Placeholder 36">
            <a:extLst>
              <a:ext uri="{FF2B5EF4-FFF2-40B4-BE49-F238E27FC236}">
                <a16:creationId xmlns:a16="http://schemas.microsoft.com/office/drawing/2014/main" id="{8A58873A-5539-DC35-58D1-5C0678749BD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2347" y="5557165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7</a:t>
            </a:r>
            <a:endParaRPr lang="en-NL"/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555EDA81-D70C-8A17-C03C-59DBA387249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65407" y="5956559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62535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 - Gro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">
            <a:extLst>
              <a:ext uri="{FF2B5EF4-FFF2-40B4-BE49-F238E27FC236}">
                <a16:creationId xmlns:a16="http://schemas.microsoft.com/office/drawing/2014/main" id="{F02C95B8-05D0-7898-EDE6-7E2ADF86821E}"/>
              </a:ext>
            </a:extLst>
          </p:cNvPr>
          <p:cNvSpPr/>
          <p:nvPr userDrawn="1"/>
        </p:nvSpPr>
        <p:spPr>
          <a:xfrm rot="10800000" flipH="1">
            <a:off x="140960" y="143217"/>
            <a:ext cx="11924040" cy="65962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263" y="0"/>
                </a:moveTo>
                <a:cubicBezTo>
                  <a:pt x="225" y="0"/>
                  <a:pt x="194" y="0"/>
                  <a:pt x="169" y="3"/>
                </a:cubicBezTo>
                <a:cubicBezTo>
                  <a:pt x="143" y="6"/>
                  <a:pt x="124" y="12"/>
                  <a:pt x="109" y="24"/>
                </a:cubicBezTo>
                <a:cubicBezTo>
                  <a:pt x="87" y="38"/>
                  <a:pt x="67" y="62"/>
                  <a:pt x="50" y="91"/>
                </a:cubicBezTo>
                <a:cubicBezTo>
                  <a:pt x="34" y="121"/>
                  <a:pt x="21" y="157"/>
                  <a:pt x="13" y="197"/>
                </a:cubicBezTo>
                <a:cubicBezTo>
                  <a:pt x="7" y="225"/>
                  <a:pt x="3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3" y="21340"/>
                  <a:pt x="7" y="21375"/>
                  <a:pt x="13" y="21403"/>
                </a:cubicBezTo>
                <a:cubicBezTo>
                  <a:pt x="21" y="21443"/>
                  <a:pt x="34" y="21479"/>
                  <a:pt x="50" y="21509"/>
                </a:cubicBezTo>
                <a:cubicBezTo>
                  <a:pt x="67" y="21538"/>
                  <a:pt x="87" y="21562"/>
                  <a:pt x="109" y="21576"/>
                </a:cubicBezTo>
                <a:cubicBezTo>
                  <a:pt x="124" y="21588"/>
                  <a:pt x="143" y="21595"/>
                  <a:pt x="169" y="21597"/>
                </a:cubicBezTo>
                <a:cubicBezTo>
                  <a:pt x="169" y="21597"/>
                  <a:pt x="169" y="21597"/>
                  <a:pt x="169" y="21597"/>
                </a:cubicBezTo>
                <a:cubicBezTo>
                  <a:pt x="194" y="21599"/>
                  <a:pt x="225" y="21600"/>
                  <a:pt x="263" y="21600"/>
                </a:cubicBezTo>
                <a:cubicBezTo>
                  <a:pt x="263" y="21600"/>
                  <a:pt x="264" y="21600"/>
                  <a:pt x="264" y="21600"/>
                </a:cubicBezTo>
                <a:lnTo>
                  <a:pt x="7428" y="21600"/>
                </a:lnTo>
                <a:lnTo>
                  <a:pt x="8769" y="21600"/>
                </a:lnTo>
                <a:cubicBezTo>
                  <a:pt x="8808" y="21600"/>
                  <a:pt x="8839" y="21600"/>
                  <a:pt x="8864" y="21597"/>
                </a:cubicBezTo>
                <a:cubicBezTo>
                  <a:pt x="8876" y="21596"/>
                  <a:pt x="8883" y="21590"/>
                  <a:pt x="8892" y="21587"/>
                </a:cubicBezTo>
                <a:lnTo>
                  <a:pt x="8893" y="21593"/>
                </a:lnTo>
                <a:cubicBezTo>
                  <a:pt x="9861" y="21210"/>
                  <a:pt x="10772" y="20552"/>
                  <a:pt x="11600" y="19665"/>
                </a:cubicBezTo>
                <a:cubicBezTo>
                  <a:pt x="12427" y="18778"/>
                  <a:pt x="13170" y="17661"/>
                  <a:pt x="13803" y="16360"/>
                </a:cubicBezTo>
                <a:lnTo>
                  <a:pt x="11968" y="6"/>
                </a:lnTo>
                <a:lnTo>
                  <a:pt x="8866" y="2"/>
                </a:lnTo>
                <a:lnTo>
                  <a:pt x="8866" y="4"/>
                </a:lnTo>
                <a:cubicBezTo>
                  <a:pt x="8865" y="3"/>
                  <a:pt x="8864" y="3"/>
                  <a:pt x="8864" y="3"/>
                </a:cubicBezTo>
                <a:cubicBezTo>
                  <a:pt x="8839" y="0"/>
                  <a:pt x="8808" y="0"/>
                  <a:pt x="8769" y="0"/>
                </a:cubicBezTo>
                <a:lnTo>
                  <a:pt x="4900" y="0"/>
                </a:lnTo>
                <a:lnTo>
                  <a:pt x="263" y="0"/>
                </a:lnTo>
                <a:close/>
                <a:moveTo>
                  <a:pt x="13803" y="16360"/>
                </a:moveTo>
                <a:lnTo>
                  <a:pt x="14391" y="21600"/>
                </a:lnTo>
                <a:lnTo>
                  <a:pt x="21336" y="21600"/>
                </a:lnTo>
                <a:cubicBezTo>
                  <a:pt x="21375" y="21600"/>
                  <a:pt x="21406" y="21600"/>
                  <a:pt x="21431" y="21597"/>
                </a:cubicBezTo>
                <a:cubicBezTo>
                  <a:pt x="21456" y="21594"/>
                  <a:pt x="21476" y="21588"/>
                  <a:pt x="21491" y="21576"/>
                </a:cubicBezTo>
                <a:cubicBezTo>
                  <a:pt x="21513" y="21562"/>
                  <a:pt x="21533" y="21538"/>
                  <a:pt x="21550" y="21509"/>
                </a:cubicBezTo>
                <a:cubicBezTo>
                  <a:pt x="21566" y="21479"/>
                  <a:pt x="21579" y="21443"/>
                  <a:pt x="21587" y="21403"/>
                </a:cubicBezTo>
                <a:cubicBezTo>
                  <a:pt x="21593" y="21375"/>
                  <a:pt x="21597" y="21340"/>
                  <a:pt x="21598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8" y="305"/>
                </a:cubicBezTo>
                <a:cubicBezTo>
                  <a:pt x="21597" y="260"/>
                  <a:pt x="21593" y="225"/>
                  <a:pt x="21587" y="197"/>
                </a:cubicBezTo>
                <a:cubicBezTo>
                  <a:pt x="21579" y="157"/>
                  <a:pt x="21566" y="121"/>
                  <a:pt x="21550" y="91"/>
                </a:cubicBezTo>
                <a:cubicBezTo>
                  <a:pt x="21533" y="62"/>
                  <a:pt x="21513" y="38"/>
                  <a:pt x="21491" y="24"/>
                </a:cubicBezTo>
                <a:cubicBezTo>
                  <a:pt x="21476" y="12"/>
                  <a:pt x="21456" y="6"/>
                  <a:pt x="21431" y="3"/>
                </a:cubicBezTo>
                <a:cubicBezTo>
                  <a:pt x="21406" y="0"/>
                  <a:pt x="21375" y="0"/>
                  <a:pt x="21336" y="0"/>
                </a:cubicBezTo>
                <a:lnTo>
                  <a:pt x="15505" y="0"/>
                </a:lnTo>
                <a:cubicBezTo>
                  <a:pt x="16187" y="3303"/>
                  <a:pt x="16247" y="6921"/>
                  <a:pt x="15676" y="10292"/>
                </a:cubicBezTo>
                <a:cubicBezTo>
                  <a:pt x="15291" y="12571"/>
                  <a:pt x="14645" y="14629"/>
                  <a:pt x="13803" y="16360"/>
                </a:cubicBezTo>
                <a:close/>
              </a:path>
            </a:pathLst>
          </a:custGeom>
          <a:solidFill>
            <a:srgbClr val="E2F8A1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F68F4AAD-6A76-04A3-D3BA-C55A8AEBBA52}"/>
              </a:ext>
            </a:extLst>
          </p:cNvPr>
          <p:cNvSpPr/>
          <p:nvPr userDrawn="1"/>
        </p:nvSpPr>
        <p:spPr>
          <a:xfrm rot="10800000" flipH="1">
            <a:off x="7733654" y="151784"/>
            <a:ext cx="4330725" cy="65791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0" y="16375"/>
                </a:moveTo>
                <a:lnTo>
                  <a:pt x="17" y="16360"/>
                </a:lnTo>
                <a:lnTo>
                  <a:pt x="0" y="16375"/>
                </a:lnTo>
                <a:close/>
                <a:moveTo>
                  <a:pt x="17" y="16360"/>
                </a:moveTo>
                <a:lnTo>
                  <a:pt x="1637" y="21600"/>
                </a:lnTo>
                <a:lnTo>
                  <a:pt x="20873" y="21600"/>
                </a:lnTo>
                <a:cubicBezTo>
                  <a:pt x="20980" y="21600"/>
                  <a:pt x="21065" y="21600"/>
                  <a:pt x="21134" y="21597"/>
                </a:cubicBezTo>
                <a:cubicBezTo>
                  <a:pt x="21204" y="21594"/>
                  <a:pt x="21257" y="21588"/>
                  <a:pt x="21300" y="21576"/>
                </a:cubicBezTo>
                <a:cubicBezTo>
                  <a:pt x="21361" y="21562"/>
                  <a:pt x="21416" y="21538"/>
                  <a:pt x="21461" y="21509"/>
                </a:cubicBezTo>
                <a:cubicBezTo>
                  <a:pt x="21506" y="21479"/>
                  <a:pt x="21542" y="21443"/>
                  <a:pt x="21564" y="21403"/>
                </a:cubicBezTo>
                <a:cubicBezTo>
                  <a:pt x="21582" y="21375"/>
                  <a:pt x="21591" y="21340"/>
                  <a:pt x="21596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6" y="305"/>
                </a:cubicBezTo>
                <a:cubicBezTo>
                  <a:pt x="21591" y="260"/>
                  <a:pt x="21582" y="225"/>
                  <a:pt x="21564" y="197"/>
                </a:cubicBezTo>
                <a:cubicBezTo>
                  <a:pt x="21542" y="157"/>
                  <a:pt x="21506" y="121"/>
                  <a:pt x="21461" y="91"/>
                </a:cubicBezTo>
                <a:cubicBezTo>
                  <a:pt x="21416" y="62"/>
                  <a:pt x="21361" y="38"/>
                  <a:pt x="21300" y="24"/>
                </a:cubicBezTo>
                <a:cubicBezTo>
                  <a:pt x="21257" y="12"/>
                  <a:pt x="21204" y="6"/>
                  <a:pt x="21134" y="3"/>
                </a:cubicBezTo>
                <a:cubicBezTo>
                  <a:pt x="21065" y="0"/>
                  <a:pt x="20980" y="0"/>
                  <a:pt x="20873" y="0"/>
                </a:cubicBezTo>
                <a:lnTo>
                  <a:pt x="4708" y="0"/>
                </a:lnTo>
                <a:cubicBezTo>
                  <a:pt x="6586" y="3303"/>
                  <a:pt x="6752" y="6921"/>
                  <a:pt x="5180" y="10292"/>
                </a:cubicBezTo>
                <a:cubicBezTo>
                  <a:pt x="4117" y="12571"/>
                  <a:pt x="2337" y="14629"/>
                  <a:pt x="17" y="16360"/>
                </a:cubicBezTo>
                <a:close/>
              </a:path>
            </a:pathLst>
          </a:custGeom>
          <a:solidFill>
            <a:schemeClr val="accent3"/>
          </a:solidFill>
          <a:ln w="38100">
            <a:solidFill>
              <a:schemeClr val="accent4"/>
            </a:solidFill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8D25D35-F803-FE5F-5B21-5DD45C943C10}"/>
              </a:ext>
            </a:extLst>
          </p:cNvPr>
          <p:cNvSpPr>
            <a:spLocks noChangeAspect="1"/>
          </p:cNvSpPr>
          <p:nvPr userDrawn="1"/>
        </p:nvSpPr>
        <p:spPr>
          <a:xfrm>
            <a:off x="8637736" y="6671358"/>
            <a:ext cx="90000" cy="9000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3CBAE53-D10D-90F7-4B8D-AC14989D21E3}"/>
              </a:ext>
            </a:extLst>
          </p:cNvPr>
          <p:cNvSpPr txBox="1"/>
          <p:nvPr userDrawn="1"/>
        </p:nvSpPr>
        <p:spPr>
          <a:xfrm rot="16868678">
            <a:off x="7410406" y="751572"/>
            <a:ext cx="13640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GB" sz="2400" err="1">
                <a:solidFill>
                  <a:schemeClr val="accent4"/>
                </a:solidFill>
                <a:latin typeface="Caveat" pitchFamily="2" charset="0"/>
                <a:cs typeface="Archivo" pitchFamily="2" charset="77"/>
              </a:rPr>
              <a:t>waaronder</a:t>
            </a:r>
            <a:r>
              <a:rPr lang="en-GB" sz="2400">
                <a:solidFill>
                  <a:schemeClr val="accent4"/>
                </a:solidFill>
                <a:latin typeface="Caveat" pitchFamily="2" charset="0"/>
                <a:cs typeface="Archivo" pitchFamily="2" charset="77"/>
              </a:rPr>
              <a:t>:</a:t>
            </a:r>
            <a:endParaRPr lang="en-NL" sz="2400">
              <a:solidFill>
                <a:schemeClr val="accent4"/>
              </a:solidFill>
              <a:latin typeface="Caveat" pitchFamily="2" charset="0"/>
              <a:cs typeface="Archivo" pitchFamily="2" charset="77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accent3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0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3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3DA0C48-0FD8-CBF1-46DD-1DBA9C39FE7E}"/>
              </a:ext>
            </a:extLst>
          </p:cNvPr>
          <p:cNvSpPr>
            <a:spLocks noChangeAspect="1"/>
          </p:cNvSpPr>
          <p:nvPr userDrawn="1"/>
        </p:nvSpPr>
        <p:spPr>
          <a:xfrm>
            <a:off x="4974117" y="96642"/>
            <a:ext cx="90000" cy="9000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CC30FEDB-B3C6-1215-6398-EE23350934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6251" y="4709821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6</a:t>
            </a:r>
            <a:endParaRPr lang="en-NL"/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74825199-6C65-4342-7219-A01D48FD5A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59311" y="5109215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8C370512-13C9-A482-FC10-B15879875C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08942" y="518726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1</a:t>
            </a:r>
            <a:endParaRPr lang="en-NL"/>
          </a:p>
        </p:txBody>
      </p:sp>
      <p:sp>
        <p:nvSpPr>
          <p:cNvPr id="6" name="Text Placeholder 36">
            <a:extLst>
              <a:ext uri="{FF2B5EF4-FFF2-40B4-BE49-F238E27FC236}">
                <a16:creationId xmlns:a16="http://schemas.microsoft.com/office/drawing/2014/main" id="{65A0EEE6-6550-464D-8C9B-250745F961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72002" y="918120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66E71C38-C3FE-8DD2-7599-BB32AAD0F5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05228" y="1358040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2</a:t>
            </a:r>
            <a:endParaRPr lang="en-NL"/>
          </a:p>
        </p:txBody>
      </p:sp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85A62710-FCC0-59C6-92DC-6FFAAE2372B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68288" y="1757434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DA5A715C-92C3-0D91-C039-EB3E8B0C46A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2664" y="2199359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3</a:t>
            </a:r>
            <a:endParaRPr lang="en-NL"/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4ABB4EF7-ADCE-C5CE-0317-5383D7C6C2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75724" y="2598753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61DE54FE-E490-0020-8000-AAB47B8F45A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1514" y="3044398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4</a:t>
            </a:r>
            <a:endParaRPr lang="en-NL"/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DF8FF2D4-A28B-67AA-4F5A-5DFDB0EFB7A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64574" y="3443792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0" name="Text Placeholder 36">
            <a:extLst>
              <a:ext uri="{FF2B5EF4-FFF2-40B4-BE49-F238E27FC236}">
                <a16:creationId xmlns:a16="http://schemas.microsoft.com/office/drawing/2014/main" id="{F806C821-8F47-F5DC-1C9B-5054CEB665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8950" y="3885717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5</a:t>
            </a:r>
            <a:endParaRPr lang="en-NL"/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2A87EB76-AF17-15BF-0401-0C11BE9413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72010" y="4285111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4" name="Text Placeholder 36">
            <a:extLst>
              <a:ext uri="{FF2B5EF4-FFF2-40B4-BE49-F238E27FC236}">
                <a16:creationId xmlns:a16="http://schemas.microsoft.com/office/drawing/2014/main" id="{E2E6C020-A272-794A-6F0C-0DF6A7C8AA1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2347" y="5557165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7</a:t>
            </a:r>
            <a:endParaRPr lang="en-NL"/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D24B0F3F-12DD-8CC6-D347-D7EA1D73D64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65407" y="5956559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30721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 - Blauw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">
            <a:extLst>
              <a:ext uri="{FF2B5EF4-FFF2-40B4-BE49-F238E27FC236}">
                <a16:creationId xmlns:a16="http://schemas.microsoft.com/office/drawing/2014/main" id="{F02C95B8-05D0-7898-EDE6-7E2ADF86821E}"/>
              </a:ext>
            </a:extLst>
          </p:cNvPr>
          <p:cNvSpPr/>
          <p:nvPr userDrawn="1"/>
        </p:nvSpPr>
        <p:spPr>
          <a:xfrm rot="10800000" flipH="1">
            <a:off x="140960" y="143217"/>
            <a:ext cx="11924040" cy="65962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263" y="0"/>
                </a:moveTo>
                <a:cubicBezTo>
                  <a:pt x="225" y="0"/>
                  <a:pt x="194" y="0"/>
                  <a:pt x="169" y="3"/>
                </a:cubicBezTo>
                <a:cubicBezTo>
                  <a:pt x="143" y="6"/>
                  <a:pt x="124" y="12"/>
                  <a:pt x="109" y="24"/>
                </a:cubicBezTo>
                <a:cubicBezTo>
                  <a:pt x="87" y="38"/>
                  <a:pt x="67" y="62"/>
                  <a:pt x="50" y="91"/>
                </a:cubicBezTo>
                <a:cubicBezTo>
                  <a:pt x="34" y="121"/>
                  <a:pt x="21" y="157"/>
                  <a:pt x="13" y="197"/>
                </a:cubicBezTo>
                <a:cubicBezTo>
                  <a:pt x="7" y="225"/>
                  <a:pt x="3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3" y="21340"/>
                  <a:pt x="7" y="21375"/>
                  <a:pt x="13" y="21403"/>
                </a:cubicBezTo>
                <a:cubicBezTo>
                  <a:pt x="21" y="21443"/>
                  <a:pt x="34" y="21479"/>
                  <a:pt x="50" y="21509"/>
                </a:cubicBezTo>
                <a:cubicBezTo>
                  <a:pt x="67" y="21538"/>
                  <a:pt x="87" y="21562"/>
                  <a:pt x="109" y="21576"/>
                </a:cubicBezTo>
                <a:cubicBezTo>
                  <a:pt x="124" y="21588"/>
                  <a:pt x="143" y="21595"/>
                  <a:pt x="169" y="21597"/>
                </a:cubicBezTo>
                <a:cubicBezTo>
                  <a:pt x="169" y="21597"/>
                  <a:pt x="169" y="21597"/>
                  <a:pt x="169" y="21597"/>
                </a:cubicBezTo>
                <a:cubicBezTo>
                  <a:pt x="194" y="21599"/>
                  <a:pt x="225" y="21600"/>
                  <a:pt x="263" y="21600"/>
                </a:cubicBezTo>
                <a:cubicBezTo>
                  <a:pt x="263" y="21600"/>
                  <a:pt x="264" y="21600"/>
                  <a:pt x="264" y="21600"/>
                </a:cubicBezTo>
                <a:lnTo>
                  <a:pt x="7428" y="21600"/>
                </a:lnTo>
                <a:lnTo>
                  <a:pt x="8769" y="21600"/>
                </a:lnTo>
                <a:cubicBezTo>
                  <a:pt x="8808" y="21600"/>
                  <a:pt x="8839" y="21600"/>
                  <a:pt x="8864" y="21597"/>
                </a:cubicBezTo>
                <a:cubicBezTo>
                  <a:pt x="8876" y="21596"/>
                  <a:pt x="8883" y="21590"/>
                  <a:pt x="8892" y="21587"/>
                </a:cubicBezTo>
                <a:lnTo>
                  <a:pt x="8893" y="21593"/>
                </a:lnTo>
                <a:cubicBezTo>
                  <a:pt x="9861" y="21210"/>
                  <a:pt x="10772" y="20552"/>
                  <a:pt x="11600" y="19665"/>
                </a:cubicBezTo>
                <a:cubicBezTo>
                  <a:pt x="12427" y="18778"/>
                  <a:pt x="13170" y="17661"/>
                  <a:pt x="13803" y="16360"/>
                </a:cubicBezTo>
                <a:lnTo>
                  <a:pt x="11968" y="6"/>
                </a:lnTo>
                <a:lnTo>
                  <a:pt x="8866" y="2"/>
                </a:lnTo>
                <a:lnTo>
                  <a:pt x="8866" y="4"/>
                </a:lnTo>
                <a:cubicBezTo>
                  <a:pt x="8865" y="3"/>
                  <a:pt x="8864" y="3"/>
                  <a:pt x="8864" y="3"/>
                </a:cubicBezTo>
                <a:cubicBezTo>
                  <a:pt x="8839" y="0"/>
                  <a:pt x="8808" y="0"/>
                  <a:pt x="8769" y="0"/>
                </a:cubicBezTo>
                <a:lnTo>
                  <a:pt x="4900" y="0"/>
                </a:lnTo>
                <a:lnTo>
                  <a:pt x="263" y="0"/>
                </a:lnTo>
                <a:close/>
                <a:moveTo>
                  <a:pt x="13803" y="16360"/>
                </a:moveTo>
                <a:lnTo>
                  <a:pt x="14391" y="21600"/>
                </a:lnTo>
                <a:lnTo>
                  <a:pt x="21336" y="21600"/>
                </a:lnTo>
                <a:cubicBezTo>
                  <a:pt x="21375" y="21600"/>
                  <a:pt x="21406" y="21600"/>
                  <a:pt x="21431" y="21597"/>
                </a:cubicBezTo>
                <a:cubicBezTo>
                  <a:pt x="21456" y="21594"/>
                  <a:pt x="21476" y="21588"/>
                  <a:pt x="21491" y="21576"/>
                </a:cubicBezTo>
                <a:cubicBezTo>
                  <a:pt x="21513" y="21562"/>
                  <a:pt x="21533" y="21538"/>
                  <a:pt x="21550" y="21509"/>
                </a:cubicBezTo>
                <a:cubicBezTo>
                  <a:pt x="21566" y="21479"/>
                  <a:pt x="21579" y="21443"/>
                  <a:pt x="21587" y="21403"/>
                </a:cubicBezTo>
                <a:cubicBezTo>
                  <a:pt x="21593" y="21375"/>
                  <a:pt x="21597" y="21340"/>
                  <a:pt x="21598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8" y="305"/>
                </a:cubicBezTo>
                <a:cubicBezTo>
                  <a:pt x="21597" y="260"/>
                  <a:pt x="21593" y="225"/>
                  <a:pt x="21587" y="197"/>
                </a:cubicBezTo>
                <a:cubicBezTo>
                  <a:pt x="21579" y="157"/>
                  <a:pt x="21566" y="121"/>
                  <a:pt x="21550" y="91"/>
                </a:cubicBezTo>
                <a:cubicBezTo>
                  <a:pt x="21533" y="62"/>
                  <a:pt x="21513" y="38"/>
                  <a:pt x="21491" y="24"/>
                </a:cubicBezTo>
                <a:cubicBezTo>
                  <a:pt x="21476" y="12"/>
                  <a:pt x="21456" y="6"/>
                  <a:pt x="21431" y="3"/>
                </a:cubicBezTo>
                <a:cubicBezTo>
                  <a:pt x="21406" y="0"/>
                  <a:pt x="21375" y="0"/>
                  <a:pt x="21336" y="0"/>
                </a:cubicBezTo>
                <a:lnTo>
                  <a:pt x="15505" y="0"/>
                </a:lnTo>
                <a:cubicBezTo>
                  <a:pt x="16187" y="3303"/>
                  <a:pt x="16247" y="6921"/>
                  <a:pt x="15676" y="10292"/>
                </a:cubicBezTo>
                <a:cubicBezTo>
                  <a:pt x="15291" y="12571"/>
                  <a:pt x="14645" y="14629"/>
                  <a:pt x="13803" y="16360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8" name="Shape">
            <a:extLst>
              <a:ext uri="{FF2B5EF4-FFF2-40B4-BE49-F238E27FC236}">
                <a16:creationId xmlns:a16="http://schemas.microsoft.com/office/drawing/2014/main" id="{F7D7FC6E-6A40-0920-4A15-DC0E5A7D4D73}"/>
              </a:ext>
            </a:extLst>
          </p:cNvPr>
          <p:cNvSpPr/>
          <p:nvPr userDrawn="1"/>
        </p:nvSpPr>
        <p:spPr>
          <a:xfrm rot="10800000" flipH="1">
            <a:off x="7733654" y="151784"/>
            <a:ext cx="4330725" cy="65791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0" y="16375"/>
                </a:moveTo>
                <a:lnTo>
                  <a:pt x="17" y="16360"/>
                </a:lnTo>
                <a:lnTo>
                  <a:pt x="0" y="16375"/>
                </a:lnTo>
                <a:close/>
                <a:moveTo>
                  <a:pt x="17" y="16360"/>
                </a:moveTo>
                <a:lnTo>
                  <a:pt x="1637" y="21600"/>
                </a:lnTo>
                <a:lnTo>
                  <a:pt x="20873" y="21600"/>
                </a:lnTo>
                <a:cubicBezTo>
                  <a:pt x="20980" y="21600"/>
                  <a:pt x="21065" y="21600"/>
                  <a:pt x="21134" y="21597"/>
                </a:cubicBezTo>
                <a:cubicBezTo>
                  <a:pt x="21204" y="21594"/>
                  <a:pt x="21257" y="21588"/>
                  <a:pt x="21300" y="21576"/>
                </a:cubicBezTo>
                <a:cubicBezTo>
                  <a:pt x="21361" y="21562"/>
                  <a:pt x="21416" y="21538"/>
                  <a:pt x="21461" y="21509"/>
                </a:cubicBezTo>
                <a:cubicBezTo>
                  <a:pt x="21506" y="21479"/>
                  <a:pt x="21542" y="21443"/>
                  <a:pt x="21564" y="21403"/>
                </a:cubicBezTo>
                <a:cubicBezTo>
                  <a:pt x="21582" y="21375"/>
                  <a:pt x="21591" y="21340"/>
                  <a:pt x="21596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6" y="305"/>
                </a:cubicBezTo>
                <a:cubicBezTo>
                  <a:pt x="21591" y="260"/>
                  <a:pt x="21582" y="225"/>
                  <a:pt x="21564" y="197"/>
                </a:cubicBezTo>
                <a:cubicBezTo>
                  <a:pt x="21542" y="157"/>
                  <a:pt x="21506" y="121"/>
                  <a:pt x="21461" y="91"/>
                </a:cubicBezTo>
                <a:cubicBezTo>
                  <a:pt x="21416" y="62"/>
                  <a:pt x="21361" y="38"/>
                  <a:pt x="21300" y="24"/>
                </a:cubicBezTo>
                <a:cubicBezTo>
                  <a:pt x="21257" y="12"/>
                  <a:pt x="21204" y="6"/>
                  <a:pt x="21134" y="3"/>
                </a:cubicBezTo>
                <a:cubicBezTo>
                  <a:pt x="21065" y="0"/>
                  <a:pt x="20980" y="0"/>
                  <a:pt x="20873" y="0"/>
                </a:cubicBezTo>
                <a:lnTo>
                  <a:pt x="4708" y="0"/>
                </a:lnTo>
                <a:cubicBezTo>
                  <a:pt x="6586" y="3303"/>
                  <a:pt x="6752" y="6921"/>
                  <a:pt x="5180" y="10292"/>
                </a:cubicBezTo>
                <a:cubicBezTo>
                  <a:pt x="4117" y="12571"/>
                  <a:pt x="2337" y="14629"/>
                  <a:pt x="17" y="16360"/>
                </a:cubicBezTo>
                <a:close/>
              </a:path>
            </a:pathLst>
          </a:custGeom>
          <a:solidFill>
            <a:schemeClr val="accent5"/>
          </a:solidFill>
          <a:ln w="38100">
            <a:solidFill>
              <a:schemeClr val="accent6"/>
            </a:solidFill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accent5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0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5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3DA0C48-0FD8-CBF1-46DD-1DBA9C39FE7E}"/>
              </a:ext>
            </a:extLst>
          </p:cNvPr>
          <p:cNvSpPr>
            <a:spLocks noChangeAspect="1"/>
          </p:cNvSpPr>
          <p:nvPr userDrawn="1"/>
        </p:nvSpPr>
        <p:spPr>
          <a:xfrm>
            <a:off x="4974117" y="96642"/>
            <a:ext cx="90000" cy="90000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EBB4D5A-A772-C7BC-55F2-5793E99EFE30}"/>
              </a:ext>
            </a:extLst>
          </p:cNvPr>
          <p:cNvSpPr>
            <a:spLocks noChangeAspect="1"/>
          </p:cNvSpPr>
          <p:nvPr userDrawn="1"/>
        </p:nvSpPr>
        <p:spPr>
          <a:xfrm>
            <a:off x="8637736" y="6671358"/>
            <a:ext cx="90000" cy="90000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E6767E1-8CAE-8B28-B65B-4F2A453F8323}"/>
              </a:ext>
            </a:extLst>
          </p:cNvPr>
          <p:cNvSpPr txBox="1"/>
          <p:nvPr userDrawn="1"/>
        </p:nvSpPr>
        <p:spPr>
          <a:xfrm rot="16868678">
            <a:off x="7410406" y="751572"/>
            <a:ext cx="13640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GB" sz="2400" err="1">
                <a:solidFill>
                  <a:schemeClr val="accent6"/>
                </a:solidFill>
                <a:latin typeface="Caveat" pitchFamily="2" charset="0"/>
                <a:cs typeface="Archivo" pitchFamily="2" charset="77"/>
              </a:rPr>
              <a:t>waaronder</a:t>
            </a:r>
            <a:r>
              <a:rPr lang="en-GB" sz="2400">
                <a:solidFill>
                  <a:schemeClr val="accent6"/>
                </a:solidFill>
                <a:latin typeface="Caveat" pitchFamily="2" charset="0"/>
                <a:cs typeface="Archivo" pitchFamily="2" charset="77"/>
              </a:rPr>
              <a:t>:</a:t>
            </a:r>
            <a:endParaRPr lang="en-NL" sz="2400">
              <a:solidFill>
                <a:schemeClr val="accent6"/>
              </a:solidFill>
              <a:latin typeface="Caveat" pitchFamily="2" charset="0"/>
              <a:cs typeface="Archivo" pitchFamily="2" charset="77"/>
            </a:endParaRP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B6BA4B1E-8F0D-B7F8-3A79-670E317A59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6251" y="4709821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6</a:t>
            </a:r>
            <a:endParaRPr lang="en-NL"/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C5911C35-8F7A-1CF2-120C-FCA8389A5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59311" y="5109215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D73E9648-0E2C-DABA-3D8A-9F3D3A38E5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08942" y="518726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1</a:t>
            </a:r>
            <a:endParaRPr lang="en-NL"/>
          </a:p>
        </p:txBody>
      </p:sp>
      <p:sp>
        <p:nvSpPr>
          <p:cNvPr id="6" name="Text Placeholder 36">
            <a:extLst>
              <a:ext uri="{FF2B5EF4-FFF2-40B4-BE49-F238E27FC236}">
                <a16:creationId xmlns:a16="http://schemas.microsoft.com/office/drawing/2014/main" id="{A71881A9-F935-3FB8-D8F3-F4507D63EFB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72002" y="918120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A1F331B5-DBF0-541E-A7E4-8A4B188366B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05228" y="1358040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2</a:t>
            </a:r>
            <a:endParaRPr lang="en-NL"/>
          </a:p>
        </p:txBody>
      </p:sp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08765B5B-CDB6-A5AF-4FC8-1C3CCDEA5BB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68288" y="1757434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57D7741C-4B6B-6FC9-D77E-CD6C0020C1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2664" y="2199359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3</a:t>
            </a:r>
            <a:endParaRPr lang="en-NL"/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F130F817-473B-B98C-2C90-2EFBF26D3C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75724" y="2598753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F7471061-A8AA-7F71-4124-D6F2A85D2DF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1514" y="3044398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4</a:t>
            </a:r>
            <a:endParaRPr lang="en-NL"/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5599456E-2D86-7D42-0C59-912B452552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64574" y="3443792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0" name="Text Placeholder 36">
            <a:extLst>
              <a:ext uri="{FF2B5EF4-FFF2-40B4-BE49-F238E27FC236}">
                <a16:creationId xmlns:a16="http://schemas.microsoft.com/office/drawing/2014/main" id="{71B5A35F-7E8E-8074-F59E-83C4C1603C1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8950" y="3885717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5</a:t>
            </a:r>
            <a:endParaRPr lang="en-NL"/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C56EF92F-6457-0D77-8892-AA4F4D64CFD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72010" y="4285111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4" name="Text Placeholder 36">
            <a:extLst>
              <a:ext uri="{FF2B5EF4-FFF2-40B4-BE49-F238E27FC236}">
                <a16:creationId xmlns:a16="http://schemas.microsoft.com/office/drawing/2014/main" id="{0C694BA6-99AF-60A3-25FF-0D1205746FC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2347" y="5557165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7</a:t>
            </a:r>
            <a:endParaRPr lang="en-NL"/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C1DD6BF9-F9C8-CB15-EDEF-7B889E6B08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65407" y="5956559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24907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ment - Oranj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E16F2D28-860C-A16E-3526-46724403B17E}"/>
              </a:ext>
            </a:extLst>
          </p:cNvPr>
          <p:cNvSpPr>
            <a:spLocks noChangeAspect="1"/>
          </p:cNvSpPr>
          <p:nvPr userDrawn="1"/>
        </p:nvSpPr>
        <p:spPr>
          <a:xfrm>
            <a:off x="142142" y="133200"/>
            <a:ext cx="11907716" cy="6591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88" y="0"/>
                </a:moveTo>
                <a:lnTo>
                  <a:pt x="19417" y="7"/>
                </a:lnTo>
                <a:lnTo>
                  <a:pt x="19417" y="37"/>
                </a:lnTo>
                <a:cubicBezTo>
                  <a:pt x="18988" y="601"/>
                  <a:pt x="18588" y="1226"/>
                  <a:pt x="18220" y="1904"/>
                </a:cubicBezTo>
                <a:cubicBezTo>
                  <a:pt x="17851" y="2582"/>
                  <a:pt x="17514" y="3313"/>
                  <a:pt x="17211" y="4089"/>
                </a:cubicBezTo>
                <a:lnTo>
                  <a:pt x="20668" y="21591"/>
                </a:lnTo>
                <a:lnTo>
                  <a:pt x="20669" y="21600"/>
                </a:lnTo>
                <a:lnTo>
                  <a:pt x="21108" y="21600"/>
                </a:lnTo>
                <a:lnTo>
                  <a:pt x="21232" y="21600"/>
                </a:lnTo>
                <a:lnTo>
                  <a:pt x="21304" y="21600"/>
                </a:lnTo>
                <a:cubicBezTo>
                  <a:pt x="21348" y="21600"/>
                  <a:pt x="21382" y="21600"/>
                  <a:pt x="21411" y="21597"/>
                </a:cubicBezTo>
                <a:cubicBezTo>
                  <a:pt x="21439" y="21593"/>
                  <a:pt x="21461" y="21586"/>
                  <a:pt x="21478" y="21573"/>
                </a:cubicBezTo>
                <a:cubicBezTo>
                  <a:pt x="21503" y="21557"/>
                  <a:pt x="21525" y="21531"/>
                  <a:pt x="21544" y="21498"/>
                </a:cubicBezTo>
                <a:cubicBezTo>
                  <a:pt x="21562" y="21464"/>
                  <a:pt x="21577" y="21424"/>
                  <a:pt x="21586" y="21379"/>
                </a:cubicBezTo>
                <a:cubicBezTo>
                  <a:pt x="21593" y="21347"/>
                  <a:pt x="21596" y="21308"/>
                  <a:pt x="21598" y="21257"/>
                </a:cubicBezTo>
                <a:cubicBezTo>
                  <a:pt x="21600" y="21207"/>
                  <a:pt x="21600" y="21144"/>
                  <a:pt x="21600" y="21066"/>
                </a:cubicBezTo>
                <a:lnTo>
                  <a:pt x="21600" y="534"/>
                </a:lnTo>
                <a:cubicBezTo>
                  <a:pt x="21600" y="456"/>
                  <a:pt x="21600" y="393"/>
                  <a:pt x="21598" y="343"/>
                </a:cubicBezTo>
                <a:cubicBezTo>
                  <a:pt x="21596" y="292"/>
                  <a:pt x="21593" y="253"/>
                  <a:pt x="21586" y="221"/>
                </a:cubicBezTo>
                <a:cubicBezTo>
                  <a:pt x="21577" y="176"/>
                  <a:pt x="21562" y="136"/>
                  <a:pt x="21544" y="102"/>
                </a:cubicBezTo>
                <a:cubicBezTo>
                  <a:pt x="21525" y="69"/>
                  <a:pt x="21503" y="43"/>
                  <a:pt x="21478" y="27"/>
                </a:cubicBezTo>
                <a:cubicBezTo>
                  <a:pt x="21461" y="14"/>
                  <a:pt x="21439" y="7"/>
                  <a:pt x="21411" y="3"/>
                </a:cubicBezTo>
                <a:cubicBezTo>
                  <a:pt x="21382" y="0"/>
                  <a:pt x="21348" y="0"/>
                  <a:pt x="21304" y="0"/>
                </a:cubicBezTo>
                <a:lnTo>
                  <a:pt x="21232" y="0"/>
                </a:lnTo>
                <a:lnTo>
                  <a:pt x="21108" y="0"/>
                </a:lnTo>
                <a:lnTo>
                  <a:pt x="20588" y="0"/>
                </a:lnTo>
                <a:close/>
                <a:moveTo>
                  <a:pt x="17211" y="4089"/>
                </a:moveTo>
                <a:lnTo>
                  <a:pt x="16321" y="7"/>
                </a:lnTo>
                <a:lnTo>
                  <a:pt x="12179" y="7"/>
                </a:lnTo>
                <a:lnTo>
                  <a:pt x="264" y="7"/>
                </a:lnTo>
                <a:cubicBezTo>
                  <a:pt x="225" y="7"/>
                  <a:pt x="194" y="7"/>
                  <a:pt x="169" y="10"/>
                </a:cubicBezTo>
                <a:cubicBezTo>
                  <a:pt x="144" y="13"/>
                  <a:pt x="124" y="19"/>
                  <a:pt x="109" y="30"/>
                </a:cubicBezTo>
                <a:cubicBezTo>
                  <a:pt x="87" y="45"/>
                  <a:pt x="67" y="68"/>
                  <a:pt x="50" y="98"/>
                </a:cubicBezTo>
                <a:cubicBezTo>
                  <a:pt x="34" y="128"/>
                  <a:pt x="21" y="163"/>
                  <a:pt x="13" y="204"/>
                </a:cubicBezTo>
                <a:cubicBezTo>
                  <a:pt x="7" y="232"/>
                  <a:pt x="3" y="267"/>
                  <a:pt x="2" y="312"/>
                </a:cubicBezTo>
                <a:cubicBezTo>
                  <a:pt x="0" y="357"/>
                  <a:pt x="0" y="413"/>
                  <a:pt x="0" y="483"/>
                </a:cubicBezTo>
                <a:lnTo>
                  <a:pt x="0" y="21117"/>
                </a:lnTo>
                <a:cubicBezTo>
                  <a:pt x="0" y="21187"/>
                  <a:pt x="0" y="21243"/>
                  <a:pt x="2" y="21288"/>
                </a:cubicBezTo>
                <a:cubicBezTo>
                  <a:pt x="3" y="21333"/>
                  <a:pt x="7" y="21368"/>
                  <a:pt x="13" y="21396"/>
                </a:cubicBezTo>
                <a:cubicBezTo>
                  <a:pt x="21" y="21437"/>
                  <a:pt x="34" y="21472"/>
                  <a:pt x="50" y="21502"/>
                </a:cubicBezTo>
                <a:cubicBezTo>
                  <a:pt x="67" y="21532"/>
                  <a:pt x="87" y="21555"/>
                  <a:pt x="109" y="21570"/>
                </a:cubicBezTo>
                <a:cubicBezTo>
                  <a:pt x="124" y="21581"/>
                  <a:pt x="144" y="21587"/>
                  <a:pt x="169" y="21590"/>
                </a:cubicBezTo>
                <a:cubicBezTo>
                  <a:pt x="194" y="21593"/>
                  <a:pt x="225" y="21593"/>
                  <a:pt x="264" y="21593"/>
                </a:cubicBezTo>
                <a:lnTo>
                  <a:pt x="12179" y="21593"/>
                </a:lnTo>
                <a:lnTo>
                  <a:pt x="16321" y="21593"/>
                </a:lnTo>
                <a:cubicBezTo>
                  <a:pt x="15211" y="17199"/>
                  <a:pt x="15142" y="12177"/>
                  <a:pt x="16130" y="7690"/>
                </a:cubicBezTo>
                <a:cubicBezTo>
                  <a:pt x="16412" y="6411"/>
                  <a:pt x="16777" y="5204"/>
                  <a:pt x="17211" y="408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3000">
                <a:solidFill>
                  <a:schemeClr val="accent6"/>
                </a:solidFill>
                <a:latin typeface="Archivo SemiBold Regular"/>
                <a:ea typeface="Archivo SemiBold Regular"/>
                <a:cs typeface="Archivo SemiBold Regular"/>
                <a:sym typeface="Archivo SemiBold Regular"/>
              </a:defRPr>
            </a:pPr>
            <a:endParaRPr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1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bg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11C5BF2-D87C-6A80-6634-341CECEA1815}"/>
              </a:ext>
            </a:extLst>
          </p:cNvPr>
          <p:cNvSpPr>
            <a:spLocks noChangeAspect="1"/>
          </p:cNvSpPr>
          <p:nvPr userDrawn="1"/>
        </p:nvSpPr>
        <p:spPr>
          <a:xfrm>
            <a:off x="10821768" y="96642"/>
            <a:ext cx="90000" cy="90000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CDA9E3B-B3E3-1A64-D54A-3EC2C74B5A23}"/>
              </a:ext>
            </a:extLst>
          </p:cNvPr>
          <p:cNvSpPr>
            <a:spLocks noChangeAspect="1"/>
          </p:cNvSpPr>
          <p:nvPr userDrawn="1"/>
        </p:nvSpPr>
        <p:spPr>
          <a:xfrm>
            <a:off x="9093503" y="6671358"/>
            <a:ext cx="90000" cy="90000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2303241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ment - Roz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E16F2D28-860C-A16E-3526-46724403B17E}"/>
              </a:ext>
            </a:extLst>
          </p:cNvPr>
          <p:cNvSpPr>
            <a:spLocks noChangeAspect="1"/>
          </p:cNvSpPr>
          <p:nvPr userDrawn="1"/>
        </p:nvSpPr>
        <p:spPr>
          <a:xfrm>
            <a:off x="142142" y="133200"/>
            <a:ext cx="11907716" cy="6591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88" y="0"/>
                </a:moveTo>
                <a:lnTo>
                  <a:pt x="19417" y="7"/>
                </a:lnTo>
                <a:lnTo>
                  <a:pt x="19417" y="37"/>
                </a:lnTo>
                <a:cubicBezTo>
                  <a:pt x="18988" y="601"/>
                  <a:pt x="18588" y="1226"/>
                  <a:pt x="18220" y="1904"/>
                </a:cubicBezTo>
                <a:cubicBezTo>
                  <a:pt x="17851" y="2582"/>
                  <a:pt x="17514" y="3313"/>
                  <a:pt x="17211" y="4089"/>
                </a:cubicBezTo>
                <a:lnTo>
                  <a:pt x="20668" y="21591"/>
                </a:lnTo>
                <a:lnTo>
                  <a:pt x="20669" y="21600"/>
                </a:lnTo>
                <a:lnTo>
                  <a:pt x="21108" y="21600"/>
                </a:lnTo>
                <a:lnTo>
                  <a:pt x="21232" y="21600"/>
                </a:lnTo>
                <a:lnTo>
                  <a:pt x="21304" y="21600"/>
                </a:lnTo>
                <a:cubicBezTo>
                  <a:pt x="21348" y="21600"/>
                  <a:pt x="21382" y="21600"/>
                  <a:pt x="21411" y="21597"/>
                </a:cubicBezTo>
                <a:cubicBezTo>
                  <a:pt x="21439" y="21593"/>
                  <a:pt x="21461" y="21586"/>
                  <a:pt x="21478" y="21573"/>
                </a:cubicBezTo>
                <a:cubicBezTo>
                  <a:pt x="21503" y="21557"/>
                  <a:pt x="21525" y="21531"/>
                  <a:pt x="21544" y="21498"/>
                </a:cubicBezTo>
                <a:cubicBezTo>
                  <a:pt x="21562" y="21464"/>
                  <a:pt x="21577" y="21424"/>
                  <a:pt x="21586" y="21379"/>
                </a:cubicBezTo>
                <a:cubicBezTo>
                  <a:pt x="21593" y="21347"/>
                  <a:pt x="21596" y="21308"/>
                  <a:pt x="21598" y="21257"/>
                </a:cubicBezTo>
                <a:cubicBezTo>
                  <a:pt x="21600" y="21207"/>
                  <a:pt x="21600" y="21144"/>
                  <a:pt x="21600" y="21066"/>
                </a:cubicBezTo>
                <a:lnTo>
                  <a:pt x="21600" y="534"/>
                </a:lnTo>
                <a:cubicBezTo>
                  <a:pt x="21600" y="456"/>
                  <a:pt x="21600" y="393"/>
                  <a:pt x="21598" y="343"/>
                </a:cubicBezTo>
                <a:cubicBezTo>
                  <a:pt x="21596" y="292"/>
                  <a:pt x="21593" y="253"/>
                  <a:pt x="21586" y="221"/>
                </a:cubicBezTo>
                <a:cubicBezTo>
                  <a:pt x="21577" y="176"/>
                  <a:pt x="21562" y="136"/>
                  <a:pt x="21544" y="102"/>
                </a:cubicBezTo>
                <a:cubicBezTo>
                  <a:pt x="21525" y="69"/>
                  <a:pt x="21503" y="43"/>
                  <a:pt x="21478" y="27"/>
                </a:cubicBezTo>
                <a:cubicBezTo>
                  <a:pt x="21461" y="14"/>
                  <a:pt x="21439" y="7"/>
                  <a:pt x="21411" y="3"/>
                </a:cubicBezTo>
                <a:cubicBezTo>
                  <a:pt x="21382" y="0"/>
                  <a:pt x="21348" y="0"/>
                  <a:pt x="21304" y="0"/>
                </a:cubicBezTo>
                <a:lnTo>
                  <a:pt x="21232" y="0"/>
                </a:lnTo>
                <a:lnTo>
                  <a:pt x="21108" y="0"/>
                </a:lnTo>
                <a:lnTo>
                  <a:pt x="20588" y="0"/>
                </a:lnTo>
                <a:close/>
                <a:moveTo>
                  <a:pt x="17211" y="4089"/>
                </a:moveTo>
                <a:lnTo>
                  <a:pt x="16321" y="7"/>
                </a:lnTo>
                <a:lnTo>
                  <a:pt x="12179" y="7"/>
                </a:lnTo>
                <a:lnTo>
                  <a:pt x="264" y="7"/>
                </a:lnTo>
                <a:cubicBezTo>
                  <a:pt x="225" y="7"/>
                  <a:pt x="194" y="7"/>
                  <a:pt x="169" y="10"/>
                </a:cubicBezTo>
                <a:cubicBezTo>
                  <a:pt x="144" y="13"/>
                  <a:pt x="124" y="19"/>
                  <a:pt x="109" y="30"/>
                </a:cubicBezTo>
                <a:cubicBezTo>
                  <a:pt x="87" y="45"/>
                  <a:pt x="67" y="68"/>
                  <a:pt x="50" y="98"/>
                </a:cubicBezTo>
                <a:cubicBezTo>
                  <a:pt x="34" y="128"/>
                  <a:pt x="21" y="163"/>
                  <a:pt x="13" y="204"/>
                </a:cubicBezTo>
                <a:cubicBezTo>
                  <a:pt x="7" y="232"/>
                  <a:pt x="3" y="267"/>
                  <a:pt x="2" y="312"/>
                </a:cubicBezTo>
                <a:cubicBezTo>
                  <a:pt x="0" y="357"/>
                  <a:pt x="0" y="413"/>
                  <a:pt x="0" y="483"/>
                </a:cubicBezTo>
                <a:lnTo>
                  <a:pt x="0" y="21117"/>
                </a:lnTo>
                <a:cubicBezTo>
                  <a:pt x="0" y="21187"/>
                  <a:pt x="0" y="21243"/>
                  <a:pt x="2" y="21288"/>
                </a:cubicBezTo>
                <a:cubicBezTo>
                  <a:pt x="3" y="21333"/>
                  <a:pt x="7" y="21368"/>
                  <a:pt x="13" y="21396"/>
                </a:cubicBezTo>
                <a:cubicBezTo>
                  <a:pt x="21" y="21437"/>
                  <a:pt x="34" y="21472"/>
                  <a:pt x="50" y="21502"/>
                </a:cubicBezTo>
                <a:cubicBezTo>
                  <a:pt x="67" y="21532"/>
                  <a:pt x="87" y="21555"/>
                  <a:pt x="109" y="21570"/>
                </a:cubicBezTo>
                <a:cubicBezTo>
                  <a:pt x="124" y="21581"/>
                  <a:pt x="144" y="21587"/>
                  <a:pt x="169" y="21590"/>
                </a:cubicBezTo>
                <a:cubicBezTo>
                  <a:pt x="194" y="21593"/>
                  <a:pt x="225" y="21593"/>
                  <a:pt x="264" y="21593"/>
                </a:cubicBezTo>
                <a:lnTo>
                  <a:pt x="12179" y="21593"/>
                </a:lnTo>
                <a:lnTo>
                  <a:pt x="16321" y="21593"/>
                </a:lnTo>
                <a:cubicBezTo>
                  <a:pt x="15211" y="17199"/>
                  <a:pt x="15142" y="12177"/>
                  <a:pt x="16130" y="7690"/>
                </a:cubicBezTo>
                <a:cubicBezTo>
                  <a:pt x="16412" y="6411"/>
                  <a:pt x="16777" y="5204"/>
                  <a:pt x="17211" y="4089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3000">
                <a:solidFill>
                  <a:schemeClr val="accent6"/>
                </a:solidFill>
                <a:latin typeface="Archivo SemiBold Regular"/>
                <a:ea typeface="Archivo SemiBold Regular"/>
                <a:cs typeface="Archivo SemiBold Regular"/>
                <a:sym typeface="Archivo SemiBold Regular"/>
              </a:defRPr>
            </a:pPr>
            <a:endParaRPr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1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11C5BF2-D87C-6A80-6634-341CECEA1815}"/>
              </a:ext>
            </a:extLst>
          </p:cNvPr>
          <p:cNvSpPr>
            <a:spLocks noChangeAspect="1"/>
          </p:cNvSpPr>
          <p:nvPr userDrawn="1"/>
        </p:nvSpPr>
        <p:spPr>
          <a:xfrm>
            <a:off x="10821768" y="96642"/>
            <a:ext cx="90000" cy="900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CDA9E3B-B3E3-1A64-D54A-3EC2C74B5A23}"/>
              </a:ext>
            </a:extLst>
          </p:cNvPr>
          <p:cNvSpPr>
            <a:spLocks noChangeAspect="1"/>
          </p:cNvSpPr>
          <p:nvPr userDrawn="1"/>
        </p:nvSpPr>
        <p:spPr>
          <a:xfrm>
            <a:off x="9093503" y="6671358"/>
            <a:ext cx="90000" cy="900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69735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ment - Gro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E16F2D28-860C-A16E-3526-46724403B17E}"/>
              </a:ext>
            </a:extLst>
          </p:cNvPr>
          <p:cNvSpPr>
            <a:spLocks noChangeAspect="1"/>
          </p:cNvSpPr>
          <p:nvPr userDrawn="1"/>
        </p:nvSpPr>
        <p:spPr>
          <a:xfrm>
            <a:off x="142142" y="133200"/>
            <a:ext cx="11907716" cy="6591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88" y="0"/>
                </a:moveTo>
                <a:lnTo>
                  <a:pt x="19417" y="7"/>
                </a:lnTo>
                <a:lnTo>
                  <a:pt x="19417" y="37"/>
                </a:lnTo>
                <a:cubicBezTo>
                  <a:pt x="18988" y="601"/>
                  <a:pt x="18588" y="1226"/>
                  <a:pt x="18220" y="1904"/>
                </a:cubicBezTo>
                <a:cubicBezTo>
                  <a:pt x="17851" y="2582"/>
                  <a:pt x="17514" y="3313"/>
                  <a:pt x="17211" y="4089"/>
                </a:cubicBezTo>
                <a:lnTo>
                  <a:pt x="20668" y="21591"/>
                </a:lnTo>
                <a:lnTo>
                  <a:pt x="20669" y="21600"/>
                </a:lnTo>
                <a:lnTo>
                  <a:pt x="21108" y="21600"/>
                </a:lnTo>
                <a:lnTo>
                  <a:pt x="21232" y="21600"/>
                </a:lnTo>
                <a:lnTo>
                  <a:pt x="21304" y="21600"/>
                </a:lnTo>
                <a:cubicBezTo>
                  <a:pt x="21348" y="21600"/>
                  <a:pt x="21382" y="21600"/>
                  <a:pt x="21411" y="21597"/>
                </a:cubicBezTo>
                <a:cubicBezTo>
                  <a:pt x="21439" y="21593"/>
                  <a:pt x="21461" y="21586"/>
                  <a:pt x="21478" y="21573"/>
                </a:cubicBezTo>
                <a:cubicBezTo>
                  <a:pt x="21503" y="21557"/>
                  <a:pt x="21525" y="21531"/>
                  <a:pt x="21544" y="21498"/>
                </a:cubicBezTo>
                <a:cubicBezTo>
                  <a:pt x="21562" y="21464"/>
                  <a:pt x="21577" y="21424"/>
                  <a:pt x="21586" y="21379"/>
                </a:cubicBezTo>
                <a:cubicBezTo>
                  <a:pt x="21593" y="21347"/>
                  <a:pt x="21596" y="21308"/>
                  <a:pt x="21598" y="21257"/>
                </a:cubicBezTo>
                <a:cubicBezTo>
                  <a:pt x="21600" y="21207"/>
                  <a:pt x="21600" y="21144"/>
                  <a:pt x="21600" y="21066"/>
                </a:cubicBezTo>
                <a:lnTo>
                  <a:pt x="21600" y="534"/>
                </a:lnTo>
                <a:cubicBezTo>
                  <a:pt x="21600" y="456"/>
                  <a:pt x="21600" y="393"/>
                  <a:pt x="21598" y="343"/>
                </a:cubicBezTo>
                <a:cubicBezTo>
                  <a:pt x="21596" y="292"/>
                  <a:pt x="21593" y="253"/>
                  <a:pt x="21586" y="221"/>
                </a:cubicBezTo>
                <a:cubicBezTo>
                  <a:pt x="21577" y="176"/>
                  <a:pt x="21562" y="136"/>
                  <a:pt x="21544" y="102"/>
                </a:cubicBezTo>
                <a:cubicBezTo>
                  <a:pt x="21525" y="69"/>
                  <a:pt x="21503" y="43"/>
                  <a:pt x="21478" y="27"/>
                </a:cubicBezTo>
                <a:cubicBezTo>
                  <a:pt x="21461" y="14"/>
                  <a:pt x="21439" y="7"/>
                  <a:pt x="21411" y="3"/>
                </a:cubicBezTo>
                <a:cubicBezTo>
                  <a:pt x="21382" y="0"/>
                  <a:pt x="21348" y="0"/>
                  <a:pt x="21304" y="0"/>
                </a:cubicBezTo>
                <a:lnTo>
                  <a:pt x="21232" y="0"/>
                </a:lnTo>
                <a:lnTo>
                  <a:pt x="21108" y="0"/>
                </a:lnTo>
                <a:lnTo>
                  <a:pt x="20588" y="0"/>
                </a:lnTo>
                <a:close/>
                <a:moveTo>
                  <a:pt x="17211" y="4089"/>
                </a:moveTo>
                <a:lnTo>
                  <a:pt x="16321" y="7"/>
                </a:lnTo>
                <a:lnTo>
                  <a:pt x="12179" y="7"/>
                </a:lnTo>
                <a:lnTo>
                  <a:pt x="264" y="7"/>
                </a:lnTo>
                <a:cubicBezTo>
                  <a:pt x="225" y="7"/>
                  <a:pt x="194" y="7"/>
                  <a:pt x="169" y="10"/>
                </a:cubicBezTo>
                <a:cubicBezTo>
                  <a:pt x="144" y="13"/>
                  <a:pt x="124" y="19"/>
                  <a:pt x="109" y="30"/>
                </a:cubicBezTo>
                <a:cubicBezTo>
                  <a:pt x="87" y="45"/>
                  <a:pt x="67" y="68"/>
                  <a:pt x="50" y="98"/>
                </a:cubicBezTo>
                <a:cubicBezTo>
                  <a:pt x="34" y="128"/>
                  <a:pt x="21" y="163"/>
                  <a:pt x="13" y="204"/>
                </a:cubicBezTo>
                <a:cubicBezTo>
                  <a:pt x="7" y="232"/>
                  <a:pt x="3" y="267"/>
                  <a:pt x="2" y="312"/>
                </a:cubicBezTo>
                <a:cubicBezTo>
                  <a:pt x="0" y="357"/>
                  <a:pt x="0" y="413"/>
                  <a:pt x="0" y="483"/>
                </a:cubicBezTo>
                <a:lnTo>
                  <a:pt x="0" y="21117"/>
                </a:lnTo>
                <a:cubicBezTo>
                  <a:pt x="0" y="21187"/>
                  <a:pt x="0" y="21243"/>
                  <a:pt x="2" y="21288"/>
                </a:cubicBezTo>
                <a:cubicBezTo>
                  <a:pt x="3" y="21333"/>
                  <a:pt x="7" y="21368"/>
                  <a:pt x="13" y="21396"/>
                </a:cubicBezTo>
                <a:cubicBezTo>
                  <a:pt x="21" y="21437"/>
                  <a:pt x="34" y="21472"/>
                  <a:pt x="50" y="21502"/>
                </a:cubicBezTo>
                <a:cubicBezTo>
                  <a:pt x="67" y="21532"/>
                  <a:pt x="87" y="21555"/>
                  <a:pt x="109" y="21570"/>
                </a:cubicBezTo>
                <a:cubicBezTo>
                  <a:pt x="124" y="21581"/>
                  <a:pt x="144" y="21587"/>
                  <a:pt x="169" y="21590"/>
                </a:cubicBezTo>
                <a:cubicBezTo>
                  <a:pt x="194" y="21593"/>
                  <a:pt x="225" y="21593"/>
                  <a:pt x="264" y="21593"/>
                </a:cubicBezTo>
                <a:lnTo>
                  <a:pt x="12179" y="21593"/>
                </a:lnTo>
                <a:lnTo>
                  <a:pt x="16321" y="21593"/>
                </a:lnTo>
                <a:cubicBezTo>
                  <a:pt x="15211" y="17199"/>
                  <a:pt x="15142" y="12177"/>
                  <a:pt x="16130" y="7690"/>
                </a:cubicBezTo>
                <a:cubicBezTo>
                  <a:pt x="16412" y="6411"/>
                  <a:pt x="16777" y="5204"/>
                  <a:pt x="17211" y="4089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3000">
                <a:solidFill>
                  <a:schemeClr val="accent6"/>
                </a:solidFill>
                <a:latin typeface="Archivo SemiBold Regular"/>
                <a:ea typeface="Archivo SemiBold Regular"/>
                <a:cs typeface="Archivo SemiBold Regular"/>
                <a:sym typeface="Archivo SemiBold Regular"/>
              </a:defRPr>
            </a:pPr>
            <a:endParaRPr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accent4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1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4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11C5BF2-D87C-6A80-6634-341CECEA1815}"/>
              </a:ext>
            </a:extLst>
          </p:cNvPr>
          <p:cNvSpPr>
            <a:spLocks noChangeAspect="1"/>
          </p:cNvSpPr>
          <p:nvPr userDrawn="1"/>
        </p:nvSpPr>
        <p:spPr>
          <a:xfrm>
            <a:off x="10821768" y="96642"/>
            <a:ext cx="90000" cy="9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CDA9E3B-B3E3-1A64-D54A-3EC2C74B5A23}"/>
              </a:ext>
            </a:extLst>
          </p:cNvPr>
          <p:cNvSpPr>
            <a:spLocks noChangeAspect="1"/>
          </p:cNvSpPr>
          <p:nvPr userDrawn="1"/>
        </p:nvSpPr>
        <p:spPr>
          <a:xfrm>
            <a:off x="9093503" y="6671358"/>
            <a:ext cx="90000" cy="9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1180997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 - Oranj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">
            <a:extLst>
              <a:ext uri="{FF2B5EF4-FFF2-40B4-BE49-F238E27FC236}">
                <a16:creationId xmlns:a16="http://schemas.microsoft.com/office/drawing/2014/main" id="{F02C95B8-05D0-7898-EDE6-7E2ADF86821E}"/>
              </a:ext>
            </a:extLst>
          </p:cNvPr>
          <p:cNvSpPr/>
          <p:nvPr userDrawn="1"/>
        </p:nvSpPr>
        <p:spPr>
          <a:xfrm rot="10800000" flipH="1">
            <a:off x="140960" y="143217"/>
            <a:ext cx="11924040" cy="65962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263" y="0"/>
                </a:moveTo>
                <a:cubicBezTo>
                  <a:pt x="225" y="0"/>
                  <a:pt x="194" y="0"/>
                  <a:pt x="169" y="3"/>
                </a:cubicBezTo>
                <a:cubicBezTo>
                  <a:pt x="143" y="6"/>
                  <a:pt x="124" y="12"/>
                  <a:pt x="109" y="24"/>
                </a:cubicBezTo>
                <a:cubicBezTo>
                  <a:pt x="87" y="38"/>
                  <a:pt x="67" y="62"/>
                  <a:pt x="50" y="91"/>
                </a:cubicBezTo>
                <a:cubicBezTo>
                  <a:pt x="34" y="121"/>
                  <a:pt x="21" y="157"/>
                  <a:pt x="13" y="197"/>
                </a:cubicBezTo>
                <a:cubicBezTo>
                  <a:pt x="7" y="225"/>
                  <a:pt x="3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3" y="21340"/>
                  <a:pt x="7" y="21375"/>
                  <a:pt x="13" y="21403"/>
                </a:cubicBezTo>
                <a:cubicBezTo>
                  <a:pt x="21" y="21443"/>
                  <a:pt x="34" y="21479"/>
                  <a:pt x="50" y="21509"/>
                </a:cubicBezTo>
                <a:cubicBezTo>
                  <a:pt x="67" y="21538"/>
                  <a:pt x="87" y="21562"/>
                  <a:pt x="109" y="21576"/>
                </a:cubicBezTo>
                <a:cubicBezTo>
                  <a:pt x="124" y="21588"/>
                  <a:pt x="143" y="21595"/>
                  <a:pt x="169" y="21597"/>
                </a:cubicBezTo>
                <a:cubicBezTo>
                  <a:pt x="169" y="21597"/>
                  <a:pt x="169" y="21597"/>
                  <a:pt x="169" y="21597"/>
                </a:cubicBezTo>
                <a:cubicBezTo>
                  <a:pt x="194" y="21599"/>
                  <a:pt x="225" y="21600"/>
                  <a:pt x="263" y="21600"/>
                </a:cubicBezTo>
                <a:cubicBezTo>
                  <a:pt x="263" y="21600"/>
                  <a:pt x="264" y="21600"/>
                  <a:pt x="264" y="21600"/>
                </a:cubicBezTo>
                <a:lnTo>
                  <a:pt x="7428" y="21600"/>
                </a:lnTo>
                <a:lnTo>
                  <a:pt x="8769" y="21600"/>
                </a:lnTo>
                <a:cubicBezTo>
                  <a:pt x="8808" y="21600"/>
                  <a:pt x="8839" y="21600"/>
                  <a:pt x="8864" y="21597"/>
                </a:cubicBezTo>
                <a:cubicBezTo>
                  <a:pt x="8876" y="21596"/>
                  <a:pt x="8883" y="21590"/>
                  <a:pt x="8892" y="21587"/>
                </a:cubicBezTo>
                <a:lnTo>
                  <a:pt x="8893" y="21593"/>
                </a:lnTo>
                <a:cubicBezTo>
                  <a:pt x="9861" y="21210"/>
                  <a:pt x="10772" y="20552"/>
                  <a:pt x="11600" y="19665"/>
                </a:cubicBezTo>
                <a:cubicBezTo>
                  <a:pt x="12427" y="18778"/>
                  <a:pt x="13170" y="17661"/>
                  <a:pt x="13803" y="16360"/>
                </a:cubicBezTo>
                <a:lnTo>
                  <a:pt x="11968" y="6"/>
                </a:lnTo>
                <a:lnTo>
                  <a:pt x="8866" y="2"/>
                </a:lnTo>
                <a:lnTo>
                  <a:pt x="8866" y="4"/>
                </a:lnTo>
                <a:cubicBezTo>
                  <a:pt x="8865" y="3"/>
                  <a:pt x="8864" y="3"/>
                  <a:pt x="8864" y="3"/>
                </a:cubicBezTo>
                <a:cubicBezTo>
                  <a:pt x="8839" y="0"/>
                  <a:pt x="8808" y="0"/>
                  <a:pt x="8769" y="0"/>
                </a:cubicBezTo>
                <a:lnTo>
                  <a:pt x="4900" y="0"/>
                </a:lnTo>
                <a:lnTo>
                  <a:pt x="263" y="0"/>
                </a:lnTo>
                <a:close/>
                <a:moveTo>
                  <a:pt x="13803" y="16360"/>
                </a:moveTo>
                <a:lnTo>
                  <a:pt x="14391" y="21600"/>
                </a:lnTo>
                <a:lnTo>
                  <a:pt x="21336" y="21600"/>
                </a:lnTo>
                <a:cubicBezTo>
                  <a:pt x="21375" y="21600"/>
                  <a:pt x="21406" y="21600"/>
                  <a:pt x="21431" y="21597"/>
                </a:cubicBezTo>
                <a:cubicBezTo>
                  <a:pt x="21456" y="21594"/>
                  <a:pt x="21476" y="21588"/>
                  <a:pt x="21491" y="21576"/>
                </a:cubicBezTo>
                <a:cubicBezTo>
                  <a:pt x="21513" y="21562"/>
                  <a:pt x="21533" y="21538"/>
                  <a:pt x="21550" y="21509"/>
                </a:cubicBezTo>
                <a:cubicBezTo>
                  <a:pt x="21566" y="21479"/>
                  <a:pt x="21579" y="21443"/>
                  <a:pt x="21587" y="21403"/>
                </a:cubicBezTo>
                <a:cubicBezTo>
                  <a:pt x="21593" y="21375"/>
                  <a:pt x="21597" y="21340"/>
                  <a:pt x="21598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8" y="305"/>
                </a:cubicBezTo>
                <a:cubicBezTo>
                  <a:pt x="21597" y="260"/>
                  <a:pt x="21593" y="225"/>
                  <a:pt x="21587" y="197"/>
                </a:cubicBezTo>
                <a:cubicBezTo>
                  <a:pt x="21579" y="157"/>
                  <a:pt x="21566" y="121"/>
                  <a:pt x="21550" y="91"/>
                </a:cubicBezTo>
                <a:cubicBezTo>
                  <a:pt x="21533" y="62"/>
                  <a:pt x="21513" y="38"/>
                  <a:pt x="21491" y="24"/>
                </a:cubicBezTo>
                <a:cubicBezTo>
                  <a:pt x="21476" y="12"/>
                  <a:pt x="21456" y="6"/>
                  <a:pt x="21431" y="3"/>
                </a:cubicBezTo>
                <a:cubicBezTo>
                  <a:pt x="21406" y="0"/>
                  <a:pt x="21375" y="0"/>
                  <a:pt x="21336" y="0"/>
                </a:cubicBezTo>
                <a:lnTo>
                  <a:pt x="15505" y="0"/>
                </a:lnTo>
                <a:cubicBezTo>
                  <a:pt x="16187" y="3303"/>
                  <a:pt x="16247" y="6921"/>
                  <a:pt x="15676" y="10292"/>
                </a:cubicBezTo>
                <a:cubicBezTo>
                  <a:pt x="15291" y="12571"/>
                  <a:pt x="14645" y="14629"/>
                  <a:pt x="13803" y="16360"/>
                </a:cubicBezTo>
                <a:close/>
              </a:path>
            </a:pathLst>
          </a:custGeom>
          <a:solidFill>
            <a:schemeClr val="bg2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2" name="Shape">
            <a:extLst>
              <a:ext uri="{FF2B5EF4-FFF2-40B4-BE49-F238E27FC236}">
                <a16:creationId xmlns:a16="http://schemas.microsoft.com/office/drawing/2014/main" id="{614C8C22-2D45-C1B1-AD2E-94C3F0894549}"/>
              </a:ext>
            </a:extLst>
          </p:cNvPr>
          <p:cNvSpPr/>
          <p:nvPr userDrawn="1"/>
        </p:nvSpPr>
        <p:spPr>
          <a:xfrm rot="10800000" flipH="1">
            <a:off x="7733654" y="151784"/>
            <a:ext cx="4330725" cy="65791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0" y="16375"/>
                </a:moveTo>
                <a:lnTo>
                  <a:pt x="17" y="16360"/>
                </a:lnTo>
                <a:lnTo>
                  <a:pt x="0" y="16375"/>
                </a:lnTo>
                <a:close/>
                <a:moveTo>
                  <a:pt x="17" y="16360"/>
                </a:moveTo>
                <a:lnTo>
                  <a:pt x="1637" y="21600"/>
                </a:lnTo>
                <a:lnTo>
                  <a:pt x="20873" y="21600"/>
                </a:lnTo>
                <a:cubicBezTo>
                  <a:pt x="20980" y="21600"/>
                  <a:pt x="21065" y="21600"/>
                  <a:pt x="21134" y="21597"/>
                </a:cubicBezTo>
                <a:cubicBezTo>
                  <a:pt x="21204" y="21594"/>
                  <a:pt x="21257" y="21588"/>
                  <a:pt x="21300" y="21576"/>
                </a:cubicBezTo>
                <a:cubicBezTo>
                  <a:pt x="21361" y="21562"/>
                  <a:pt x="21416" y="21538"/>
                  <a:pt x="21461" y="21509"/>
                </a:cubicBezTo>
                <a:cubicBezTo>
                  <a:pt x="21506" y="21479"/>
                  <a:pt x="21542" y="21443"/>
                  <a:pt x="21564" y="21403"/>
                </a:cubicBezTo>
                <a:cubicBezTo>
                  <a:pt x="21582" y="21375"/>
                  <a:pt x="21591" y="21340"/>
                  <a:pt x="21596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6" y="305"/>
                </a:cubicBezTo>
                <a:cubicBezTo>
                  <a:pt x="21591" y="260"/>
                  <a:pt x="21582" y="225"/>
                  <a:pt x="21564" y="197"/>
                </a:cubicBezTo>
                <a:cubicBezTo>
                  <a:pt x="21542" y="157"/>
                  <a:pt x="21506" y="121"/>
                  <a:pt x="21461" y="91"/>
                </a:cubicBezTo>
                <a:cubicBezTo>
                  <a:pt x="21416" y="62"/>
                  <a:pt x="21361" y="38"/>
                  <a:pt x="21300" y="24"/>
                </a:cubicBezTo>
                <a:cubicBezTo>
                  <a:pt x="21257" y="12"/>
                  <a:pt x="21204" y="6"/>
                  <a:pt x="21134" y="3"/>
                </a:cubicBezTo>
                <a:cubicBezTo>
                  <a:pt x="21065" y="0"/>
                  <a:pt x="20980" y="0"/>
                  <a:pt x="20873" y="0"/>
                </a:cubicBezTo>
                <a:lnTo>
                  <a:pt x="4708" y="0"/>
                </a:lnTo>
                <a:cubicBezTo>
                  <a:pt x="6586" y="3303"/>
                  <a:pt x="6752" y="6921"/>
                  <a:pt x="5180" y="10292"/>
                </a:cubicBezTo>
                <a:cubicBezTo>
                  <a:pt x="4117" y="12571"/>
                  <a:pt x="2337" y="14629"/>
                  <a:pt x="17" y="16360"/>
                </a:cubicBezTo>
                <a:close/>
              </a:path>
            </a:pathLst>
          </a:custGeom>
          <a:solidFill>
            <a:schemeClr val="tx2"/>
          </a:solidFill>
          <a:ln w="38100">
            <a:solidFill>
              <a:schemeClr val="bg2"/>
            </a:solidFill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F857B95-D70C-CC5B-9CA1-1A5444B6076E}"/>
              </a:ext>
            </a:extLst>
          </p:cNvPr>
          <p:cNvSpPr>
            <a:spLocks noChangeAspect="1"/>
          </p:cNvSpPr>
          <p:nvPr userDrawn="1"/>
        </p:nvSpPr>
        <p:spPr>
          <a:xfrm>
            <a:off x="8637736" y="6671358"/>
            <a:ext cx="90000" cy="90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0EF1146-B430-9F95-A470-46195F55D593}"/>
              </a:ext>
            </a:extLst>
          </p:cNvPr>
          <p:cNvSpPr txBox="1"/>
          <p:nvPr userDrawn="1"/>
        </p:nvSpPr>
        <p:spPr>
          <a:xfrm rot="16868678">
            <a:off x="7410406" y="751572"/>
            <a:ext cx="13640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GB" sz="2400" err="1">
                <a:solidFill>
                  <a:schemeClr val="bg2"/>
                </a:solidFill>
                <a:latin typeface="Caveat" pitchFamily="2" charset="0"/>
                <a:cs typeface="Archivo" pitchFamily="2" charset="77"/>
              </a:rPr>
              <a:t>waaronder</a:t>
            </a:r>
            <a:r>
              <a:rPr lang="en-GB" sz="2400">
                <a:solidFill>
                  <a:schemeClr val="bg2"/>
                </a:solidFill>
                <a:latin typeface="Caveat" pitchFamily="2" charset="0"/>
                <a:cs typeface="Archivo" pitchFamily="2" charset="77"/>
              </a:rPr>
              <a:t>:</a:t>
            </a:r>
            <a:endParaRPr lang="en-NL" sz="2400">
              <a:solidFill>
                <a:schemeClr val="bg2"/>
              </a:solidFill>
              <a:latin typeface="Caveat" pitchFamily="2" charset="0"/>
              <a:cs typeface="Archivo" pitchFamily="2" charset="77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0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tx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14" name="Text Placeholder 36">
            <a:extLst>
              <a:ext uri="{FF2B5EF4-FFF2-40B4-BE49-F238E27FC236}">
                <a16:creationId xmlns:a16="http://schemas.microsoft.com/office/drawing/2014/main" id="{4A19016A-0CE8-8A5A-A325-E4142EEE35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6251" y="4709821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6</a:t>
            </a:r>
            <a:endParaRPr lang="en-NL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AAB6954B-E123-1E87-F10D-3147C09E22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59311" y="5109215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1" name="Text Placeholder 36">
            <a:extLst>
              <a:ext uri="{FF2B5EF4-FFF2-40B4-BE49-F238E27FC236}">
                <a16:creationId xmlns:a16="http://schemas.microsoft.com/office/drawing/2014/main" id="{4EBD589E-A9EB-A223-4927-08C2FA2C31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08942" y="518726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1</a:t>
            </a:r>
            <a:endParaRPr lang="en-NL"/>
          </a:p>
        </p:txBody>
      </p:sp>
      <p:sp>
        <p:nvSpPr>
          <p:cNvPr id="22" name="Text Placeholder 36">
            <a:extLst>
              <a:ext uri="{FF2B5EF4-FFF2-40B4-BE49-F238E27FC236}">
                <a16:creationId xmlns:a16="http://schemas.microsoft.com/office/drawing/2014/main" id="{3878E9F5-2CEC-6E56-DFAB-F0C3787D8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72002" y="918120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36" name="Text Placeholder 36">
            <a:extLst>
              <a:ext uri="{FF2B5EF4-FFF2-40B4-BE49-F238E27FC236}">
                <a16:creationId xmlns:a16="http://schemas.microsoft.com/office/drawing/2014/main" id="{CEDB5784-4D16-5239-D1D6-8CE50EB210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05228" y="1358040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2</a:t>
            </a:r>
            <a:endParaRPr lang="en-NL"/>
          </a:p>
        </p:txBody>
      </p:sp>
      <p:sp>
        <p:nvSpPr>
          <p:cNvPr id="40" name="Text Placeholder 36">
            <a:extLst>
              <a:ext uri="{FF2B5EF4-FFF2-40B4-BE49-F238E27FC236}">
                <a16:creationId xmlns:a16="http://schemas.microsoft.com/office/drawing/2014/main" id="{CF53F423-E723-B18E-8E9C-8D18006113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68288" y="1757434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41" name="Text Placeholder 36">
            <a:extLst>
              <a:ext uri="{FF2B5EF4-FFF2-40B4-BE49-F238E27FC236}">
                <a16:creationId xmlns:a16="http://schemas.microsoft.com/office/drawing/2014/main" id="{1A811AF9-F5BF-A01C-6F68-E099A2AAD8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2664" y="2199359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3</a:t>
            </a:r>
            <a:endParaRPr lang="en-NL"/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2488B0A4-2B9D-00CB-D734-4E3C27F8989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75724" y="2598753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46" name="Text Placeholder 36">
            <a:extLst>
              <a:ext uri="{FF2B5EF4-FFF2-40B4-BE49-F238E27FC236}">
                <a16:creationId xmlns:a16="http://schemas.microsoft.com/office/drawing/2014/main" id="{34121694-6193-BA62-D951-F27ED5FADC0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1514" y="3044398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4</a:t>
            </a:r>
            <a:endParaRPr lang="en-NL"/>
          </a:p>
        </p:txBody>
      </p:sp>
      <p:sp>
        <p:nvSpPr>
          <p:cNvPr id="47" name="Text Placeholder 36">
            <a:extLst>
              <a:ext uri="{FF2B5EF4-FFF2-40B4-BE49-F238E27FC236}">
                <a16:creationId xmlns:a16="http://schemas.microsoft.com/office/drawing/2014/main" id="{0183FDB2-77E5-9C5F-07B1-C774A359353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64574" y="3443792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48" name="Text Placeholder 36">
            <a:extLst>
              <a:ext uri="{FF2B5EF4-FFF2-40B4-BE49-F238E27FC236}">
                <a16:creationId xmlns:a16="http://schemas.microsoft.com/office/drawing/2014/main" id="{B55CE84D-EF89-5F19-A00D-0B45BAE4ECB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8950" y="3885717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5</a:t>
            </a:r>
            <a:endParaRPr lang="en-NL"/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D7532187-62A0-B7EC-AFCE-6C2861247B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72010" y="4285111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3DA0C48-0FD8-CBF1-46DD-1DBA9C39FE7E}"/>
              </a:ext>
            </a:extLst>
          </p:cNvPr>
          <p:cNvSpPr>
            <a:spLocks noChangeAspect="1"/>
          </p:cNvSpPr>
          <p:nvPr userDrawn="1"/>
        </p:nvSpPr>
        <p:spPr>
          <a:xfrm>
            <a:off x="4974117" y="96642"/>
            <a:ext cx="90000" cy="90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58" name="Text Placeholder 36">
            <a:extLst>
              <a:ext uri="{FF2B5EF4-FFF2-40B4-BE49-F238E27FC236}">
                <a16:creationId xmlns:a16="http://schemas.microsoft.com/office/drawing/2014/main" id="{7D4CD169-84BF-A5F3-2CC2-58E503E128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2347" y="5557165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7</a:t>
            </a:r>
            <a:endParaRPr lang="en-NL"/>
          </a:p>
        </p:txBody>
      </p:sp>
      <p:sp>
        <p:nvSpPr>
          <p:cNvPr id="59" name="Text Placeholder 36">
            <a:extLst>
              <a:ext uri="{FF2B5EF4-FFF2-40B4-BE49-F238E27FC236}">
                <a16:creationId xmlns:a16="http://schemas.microsoft.com/office/drawing/2014/main" id="{292D0E87-B88B-7A99-FC59-33A8C995B03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65407" y="5956559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713981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ment - Blauw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E16F2D28-860C-A16E-3526-46724403B17E}"/>
              </a:ext>
            </a:extLst>
          </p:cNvPr>
          <p:cNvSpPr>
            <a:spLocks noChangeAspect="1"/>
          </p:cNvSpPr>
          <p:nvPr userDrawn="1"/>
        </p:nvSpPr>
        <p:spPr>
          <a:xfrm>
            <a:off x="142142" y="133200"/>
            <a:ext cx="11907716" cy="6591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88" y="0"/>
                </a:moveTo>
                <a:lnTo>
                  <a:pt x="19417" y="7"/>
                </a:lnTo>
                <a:lnTo>
                  <a:pt x="19417" y="37"/>
                </a:lnTo>
                <a:cubicBezTo>
                  <a:pt x="18988" y="601"/>
                  <a:pt x="18588" y="1226"/>
                  <a:pt x="18220" y="1904"/>
                </a:cubicBezTo>
                <a:cubicBezTo>
                  <a:pt x="17851" y="2582"/>
                  <a:pt x="17514" y="3313"/>
                  <a:pt x="17211" y="4089"/>
                </a:cubicBezTo>
                <a:lnTo>
                  <a:pt x="20668" y="21591"/>
                </a:lnTo>
                <a:lnTo>
                  <a:pt x="20669" y="21600"/>
                </a:lnTo>
                <a:lnTo>
                  <a:pt x="21108" y="21600"/>
                </a:lnTo>
                <a:lnTo>
                  <a:pt x="21232" y="21600"/>
                </a:lnTo>
                <a:lnTo>
                  <a:pt x="21304" y="21600"/>
                </a:lnTo>
                <a:cubicBezTo>
                  <a:pt x="21348" y="21600"/>
                  <a:pt x="21382" y="21600"/>
                  <a:pt x="21411" y="21597"/>
                </a:cubicBezTo>
                <a:cubicBezTo>
                  <a:pt x="21439" y="21593"/>
                  <a:pt x="21461" y="21586"/>
                  <a:pt x="21478" y="21573"/>
                </a:cubicBezTo>
                <a:cubicBezTo>
                  <a:pt x="21503" y="21557"/>
                  <a:pt x="21525" y="21531"/>
                  <a:pt x="21544" y="21498"/>
                </a:cubicBezTo>
                <a:cubicBezTo>
                  <a:pt x="21562" y="21464"/>
                  <a:pt x="21577" y="21424"/>
                  <a:pt x="21586" y="21379"/>
                </a:cubicBezTo>
                <a:cubicBezTo>
                  <a:pt x="21593" y="21347"/>
                  <a:pt x="21596" y="21308"/>
                  <a:pt x="21598" y="21257"/>
                </a:cubicBezTo>
                <a:cubicBezTo>
                  <a:pt x="21600" y="21207"/>
                  <a:pt x="21600" y="21144"/>
                  <a:pt x="21600" y="21066"/>
                </a:cubicBezTo>
                <a:lnTo>
                  <a:pt x="21600" y="534"/>
                </a:lnTo>
                <a:cubicBezTo>
                  <a:pt x="21600" y="456"/>
                  <a:pt x="21600" y="393"/>
                  <a:pt x="21598" y="343"/>
                </a:cubicBezTo>
                <a:cubicBezTo>
                  <a:pt x="21596" y="292"/>
                  <a:pt x="21593" y="253"/>
                  <a:pt x="21586" y="221"/>
                </a:cubicBezTo>
                <a:cubicBezTo>
                  <a:pt x="21577" y="176"/>
                  <a:pt x="21562" y="136"/>
                  <a:pt x="21544" y="102"/>
                </a:cubicBezTo>
                <a:cubicBezTo>
                  <a:pt x="21525" y="69"/>
                  <a:pt x="21503" y="43"/>
                  <a:pt x="21478" y="27"/>
                </a:cubicBezTo>
                <a:cubicBezTo>
                  <a:pt x="21461" y="14"/>
                  <a:pt x="21439" y="7"/>
                  <a:pt x="21411" y="3"/>
                </a:cubicBezTo>
                <a:cubicBezTo>
                  <a:pt x="21382" y="0"/>
                  <a:pt x="21348" y="0"/>
                  <a:pt x="21304" y="0"/>
                </a:cubicBezTo>
                <a:lnTo>
                  <a:pt x="21232" y="0"/>
                </a:lnTo>
                <a:lnTo>
                  <a:pt x="21108" y="0"/>
                </a:lnTo>
                <a:lnTo>
                  <a:pt x="20588" y="0"/>
                </a:lnTo>
                <a:close/>
                <a:moveTo>
                  <a:pt x="17211" y="4089"/>
                </a:moveTo>
                <a:lnTo>
                  <a:pt x="16321" y="7"/>
                </a:lnTo>
                <a:lnTo>
                  <a:pt x="12179" y="7"/>
                </a:lnTo>
                <a:lnTo>
                  <a:pt x="264" y="7"/>
                </a:lnTo>
                <a:cubicBezTo>
                  <a:pt x="225" y="7"/>
                  <a:pt x="194" y="7"/>
                  <a:pt x="169" y="10"/>
                </a:cubicBezTo>
                <a:cubicBezTo>
                  <a:pt x="144" y="13"/>
                  <a:pt x="124" y="19"/>
                  <a:pt x="109" y="30"/>
                </a:cubicBezTo>
                <a:cubicBezTo>
                  <a:pt x="87" y="45"/>
                  <a:pt x="67" y="68"/>
                  <a:pt x="50" y="98"/>
                </a:cubicBezTo>
                <a:cubicBezTo>
                  <a:pt x="34" y="128"/>
                  <a:pt x="21" y="163"/>
                  <a:pt x="13" y="204"/>
                </a:cubicBezTo>
                <a:cubicBezTo>
                  <a:pt x="7" y="232"/>
                  <a:pt x="3" y="267"/>
                  <a:pt x="2" y="312"/>
                </a:cubicBezTo>
                <a:cubicBezTo>
                  <a:pt x="0" y="357"/>
                  <a:pt x="0" y="413"/>
                  <a:pt x="0" y="483"/>
                </a:cubicBezTo>
                <a:lnTo>
                  <a:pt x="0" y="21117"/>
                </a:lnTo>
                <a:cubicBezTo>
                  <a:pt x="0" y="21187"/>
                  <a:pt x="0" y="21243"/>
                  <a:pt x="2" y="21288"/>
                </a:cubicBezTo>
                <a:cubicBezTo>
                  <a:pt x="3" y="21333"/>
                  <a:pt x="7" y="21368"/>
                  <a:pt x="13" y="21396"/>
                </a:cubicBezTo>
                <a:cubicBezTo>
                  <a:pt x="21" y="21437"/>
                  <a:pt x="34" y="21472"/>
                  <a:pt x="50" y="21502"/>
                </a:cubicBezTo>
                <a:cubicBezTo>
                  <a:pt x="67" y="21532"/>
                  <a:pt x="87" y="21555"/>
                  <a:pt x="109" y="21570"/>
                </a:cubicBezTo>
                <a:cubicBezTo>
                  <a:pt x="124" y="21581"/>
                  <a:pt x="144" y="21587"/>
                  <a:pt x="169" y="21590"/>
                </a:cubicBezTo>
                <a:cubicBezTo>
                  <a:pt x="194" y="21593"/>
                  <a:pt x="225" y="21593"/>
                  <a:pt x="264" y="21593"/>
                </a:cubicBezTo>
                <a:lnTo>
                  <a:pt x="12179" y="21593"/>
                </a:lnTo>
                <a:lnTo>
                  <a:pt x="16321" y="21593"/>
                </a:lnTo>
                <a:cubicBezTo>
                  <a:pt x="15211" y="17199"/>
                  <a:pt x="15142" y="12177"/>
                  <a:pt x="16130" y="7690"/>
                </a:cubicBezTo>
                <a:cubicBezTo>
                  <a:pt x="16412" y="6411"/>
                  <a:pt x="16777" y="5204"/>
                  <a:pt x="17211" y="4089"/>
                </a:cubicBezTo>
                <a:close/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3000">
                <a:solidFill>
                  <a:schemeClr val="accent6"/>
                </a:solidFill>
                <a:latin typeface="Archivo SemiBold Regular"/>
                <a:ea typeface="Archivo SemiBold Regular"/>
                <a:cs typeface="Archivo SemiBold Regular"/>
                <a:sym typeface="Archivo SemiBold Regular"/>
              </a:defRPr>
            </a:pPr>
            <a:endParaRPr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accent6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1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6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11C5BF2-D87C-6A80-6634-341CECEA1815}"/>
              </a:ext>
            </a:extLst>
          </p:cNvPr>
          <p:cNvSpPr>
            <a:spLocks noChangeAspect="1"/>
          </p:cNvSpPr>
          <p:nvPr userDrawn="1"/>
        </p:nvSpPr>
        <p:spPr>
          <a:xfrm>
            <a:off x="10821768" y="96642"/>
            <a:ext cx="90000" cy="90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CDA9E3B-B3E3-1A64-D54A-3EC2C74B5A23}"/>
              </a:ext>
            </a:extLst>
          </p:cNvPr>
          <p:cNvSpPr>
            <a:spLocks noChangeAspect="1"/>
          </p:cNvSpPr>
          <p:nvPr userDrawn="1"/>
        </p:nvSpPr>
        <p:spPr>
          <a:xfrm>
            <a:off x="9093503" y="6671358"/>
            <a:ext cx="90000" cy="90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4287828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6">
            <a:extLst>
              <a:ext uri="{FF2B5EF4-FFF2-40B4-BE49-F238E27FC236}">
                <a16:creationId xmlns:a16="http://schemas.microsoft.com/office/drawing/2014/main" id="{A0E80EF2-3846-A4AF-BCC3-DA58FF52D1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DDD94450-C969-0FDF-C274-BCF048FA5A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2" y="1091800"/>
            <a:ext cx="110556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873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1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7193107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7188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DE5E48-A940-F13A-0D6A-1444B4C133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3" y="1667106"/>
            <a:ext cx="7190605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 Ut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. Donec maximus </a:t>
            </a:r>
            <a:r>
              <a:rPr lang="en-GB" err="1"/>
              <a:t>leo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egestas</a:t>
            </a:r>
            <a:r>
              <a:rPr lang="en-GB"/>
              <a:t>. Morbi id </a:t>
            </a:r>
            <a:r>
              <a:rPr lang="en-GB" err="1"/>
              <a:t>sem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non at </a:t>
            </a:r>
            <a:r>
              <a:rPr lang="en-GB" err="1"/>
              <a:t>turpis</a:t>
            </a:r>
            <a:r>
              <a:rPr lang="en-GB"/>
              <a:t>. Nam id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.</a:t>
            </a:r>
          </a:p>
          <a:p>
            <a:pPr lvl="0"/>
            <a:r>
              <a:rPr lang="en-GB"/>
              <a:t>Cras sit </a:t>
            </a:r>
            <a:r>
              <a:rPr lang="en-GB" err="1"/>
              <a:t>amet</a:t>
            </a:r>
            <a:r>
              <a:rPr lang="en-GB"/>
              <a:t> ligula diam. Vestibulum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ipsum. In convallis ac </a:t>
            </a:r>
            <a:r>
              <a:rPr lang="en-GB" err="1"/>
              <a:t>nibh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. Nam </a:t>
            </a:r>
            <a:r>
              <a:rPr lang="en-GB" err="1"/>
              <a:t>interdum</a:t>
            </a:r>
            <a:r>
              <a:rPr lang="en-GB"/>
              <a:t> magna </a:t>
            </a:r>
            <a:r>
              <a:rPr lang="en-GB" err="1"/>
              <a:t>orci</a:t>
            </a:r>
            <a:r>
              <a:rPr lang="en-GB"/>
              <a:t>,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 non. Nunc ligula </a:t>
            </a:r>
            <a:r>
              <a:rPr lang="en-GB" err="1"/>
              <a:t>dolor</a:t>
            </a:r>
            <a:r>
              <a:rPr lang="en-GB"/>
              <a:t>, </a:t>
            </a:r>
            <a:r>
              <a:rPr lang="en-GB" err="1"/>
              <a:t>posuere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orttitor</a:t>
            </a:r>
            <a:r>
              <a:rPr lang="en-GB"/>
              <a:t> semper, </a:t>
            </a:r>
            <a:r>
              <a:rPr lang="en-GB" err="1"/>
              <a:t>vehicula</a:t>
            </a:r>
            <a:r>
              <a:rPr lang="en-GB"/>
              <a:t> vitae </a:t>
            </a:r>
            <a:r>
              <a:rPr lang="en-GB" err="1"/>
              <a:t>qua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rna</a:t>
            </a:r>
            <a:r>
              <a:rPr lang="en-GB"/>
              <a:t>, </a:t>
            </a:r>
            <a:r>
              <a:rPr lang="en-GB" err="1"/>
              <a:t>rhoncus</a:t>
            </a:r>
            <a:r>
              <a:rPr lang="en-GB"/>
              <a:t> vitae </a:t>
            </a:r>
            <a:r>
              <a:rPr lang="en-GB" err="1"/>
              <a:t>odio</a:t>
            </a:r>
            <a:r>
              <a:rPr lang="en-GB"/>
              <a:t> in, vestibulum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Nunc et </a:t>
            </a:r>
            <a:r>
              <a:rPr lang="en-GB" err="1"/>
              <a:t>porttitor</a:t>
            </a:r>
            <a:r>
              <a:rPr lang="en-GB"/>
              <a:t> ipsum. Nunc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 maximus. </a:t>
            </a:r>
            <a:r>
              <a:rPr lang="en-GB" err="1"/>
              <a:t>Fusce</a:t>
            </a:r>
            <a:r>
              <a:rPr lang="en-GB"/>
              <a:t> cursus, nisi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, eros </a:t>
            </a:r>
            <a:r>
              <a:rPr lang="en-GB" err="1"/>
              <a:t>nibh</a:t>
            </a:r>
            <a:r>
              <a:rPr lang="en-GB"/>
              <a:t> fermentum ante, id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ligula.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 </a:t>
            </a:r>
            <a:r>
              <a:rPr lang="en-GB" err="1"/>
              <a:t>montes</a:t>
            </a:r>
            <a:r>
              <a:rPr lang="en-GB"/>
              <a:t>, </a:t>
            </a:r>
            <a:r>
              <a:rPr lang="en-GB" err="1"/>
              <a:t>nascetur</a:t>
            </a:r>
            <a:r>
              <a:rPr lang="en-GB"/>
              <a:t> </a:t>
            </a:r>
            <a:r>
              <a:rPr lang="en-GB" err="1"/>
              <a:t>ridiculus</a:t>
            </a:r>
            <a:r>
              <a:rPr lang="en-GB"/>
              <a:t> mus. Vestibulum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lect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sodales</a:t>
            </a:r>
            <a:r>
              <a:rPr lang="en-GB"/>
              <a:t> et ante </a:t>
            </a:r>
            <a:r>
              <a:rPr lang="en-GB" err="1"/>
              <a:t>elementum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.</a:t>
            </a:r>
            <a:endParaRPr lang="en-NL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1ABCBFA-2BA8-9FEA-76CA-A5C27DA64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5824" y="229379"/>
            <a:ext cx="742520" cy="164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145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2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6">
            <a:extLst>
              <a:ext uri="{FF2B5EF4-FFF2-40B4-BE49-F238E27FC236}">
                <a16:creationId xmlns:a16="http://schemas.microsoft.com/office/drawing/2014/main" id="{A0E80EF2-3846-A4AF-BCC3-DA58FF52D1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DDD94450-C969-0FDF-C274-BCF048FA5A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52597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88561EB-28B6-68DC-2BE4-FACBC7E8CB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3" y="1667106"/>
            <a:ext cx="5259709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 Ut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. Donec maximus </a:t>
            </a:r>
            <a:r>
              <a:rPr lang="en-GB" err="1"/>
              <a:t>leo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egestas</a:t>
            </a:r>
            <a:r>
              <a:rPr lang="en-GB"/>
              <a:t>. Morbi id </a:t>
            </a:r>
            <a:r>
              <a:rPr lang="en-GB" err="1"/>
              <a:t>sem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non at </a:t>
            </a:r>
            <a:r>
              <a:rPr lang="en-GB" err="1"/>
              <a:t>turpis</a:t>
            </a:r>
            <a:r>
              <a:rPr lang="en-GB"/>
              <a:t>. Nam id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.</a:t>
            </a:r>
          </a:p>
          <a:p>
            <a:pPr lvl="0"/>
            <a:r>
              <a:rPr lang="en-GB"/>
              <a:t>Cras sit </a:t>
            </a:r>
            <a:r>
              <a:rPr lang="en-GB" err="1"/>
              <a:t>amet</a:t>
            </a:r>
            <a:r>
              <a:rPr lang="en-GB"/>
              <a:t> ligula diam. Vestibulum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ipsum. In convallis ac </a:t>
            </a:r>
            <a:r>
              <a:rPr lang="en-GB" err="1"/>
              <a:t>nibh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. Nam </a:t>
            </a:r>
            <a:r>
              <a:rPr lang="en-GB" err="1"/>
              <a:t>interdum</a:t>
            </a:r>
            <a:r>
              <a:rPr lang="en-GB"/>
              <a:t> magna </a:t>
            </a:r>
            <a:r>
              <a:rPr lang="en-GB" err="1"/>
              <a:t>orci</a:t>
            </a:r>
            <a:r>
              <a:rPr lang="en-GB"/>
              <a:t>,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 non. Nunc ligula </a:t>
            </a:r>
            <a:r>
              <a:rPr lang="en-GB" err="1"/>
              <a:t>dolor</a:t>
            </a:r>
            <a:r>
              <a:rPr lang="en-GB"/>
              <a:t>, </a:t>
            </a:r>
            <a:r>
              <a:rPr lang="en-GB" err="1"/>
              <a:t>posseru</a:t>
            </a:r>
            <a:endParaRPr lang="en-N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2009C03-1C2F-6B79-8E04-DE3AAC042E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3266" y="1667106"/>
            <a:ext cx="5234847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lang="en-GB" sz="1000" b="0" i="0" kern="1200" dirty="0" smtClean="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 err="1"/>
              <a:t>posuere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orttitor</a:t>
            </a:r>
            <a:r>
              <a:rPr lang="en-GB"/>
              <a:t> semper, </a:t>
            </a:r>
            <a:r>
              <a:rPr lang="en-GB" err="1"/>
              <a:t>vehicula</a:t>
            </a:r>
            <a:r>
              <a:rPr lang="en-GB"/>
              <a:t> vitae </a:t>
            </a:r>
            <a:r>
              <a:rPr lang="en-GB" err="1"/>
              <a:t>qua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rna</a:t>
            </a:r>
            <a:r>
              <a:rPr lang="en-GB"/>
              <a:t>, </a:t>
            </a:r>
            <a:r>
              <a:rPr lang="en-GB" err="1"/>
              <a:t>rhoncus</a:t>
            </a:r>
            <a:r>
              <a:rPr lang="en-GB"/>
              <a:t> vitae </a:t>
            </a:r>
            <a:r>
              <a:rPr lang="en-GB" err="1"/>
              <a:t>odio</a:t>
            </a:r>
            <a:r>
              <a:rPr lang="en-GB"/>
              <a:t> in, vestibulum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Nunc et </a:t>
            </a:r>
            <a:r>
              <a:rPr lang="en-GB" err="1"/>
              <a:t>porttitor</a:t>
            </a:r>
            <a:r>
              <a:rPr lang="en-GB"/>
              <a:t> ipsum. Nunc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 maximus. </a:t>
            </a:r>
            <a:r>
              <a:rPr lang="en-GB" err="1"/>
              <a:t>Fusce</a:t>
            </a:r>
            <a:r>
              <a:rPr lang="en-GB"/>
              <a:t> cursus, nisi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, eros </a:t>
            </a:r>
            <a:r>
              <a:rPr lang="en-GB" err="1"/>
              <a:t>nibh</a:t>
            </a:r>
            <a:r>
              <a:rPr lang="en-GB"/>
              <a:t> fermentum ante, id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ligula.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 </a:t>
            </a:r>
            <a:r>
              <a:rPr lang="en-GB" err="1"/>
              <a:t>montes</a:t>
            </a:r>
            <a:r>
              <a:rPr lang="en-GB"/>
              <a:t>, </a:t>
            </a:r>
            <a:r>
              <a:rPr lang="en-GB" err="1"/>
              <a:t>nascetur</a:t>
            </a:r>
            <a:r>
              <a:rPr lang="en-GB"/>
              <a:t> </a:t>
            </a:r>
            <a:r>
              <a:rPr lang="en-GB" err="1"/>
              <a:t>ridiculus</a:t>
            </a:r>
            <a:r>
              <a:rPr lang="en-GB"/>
              <a:t> mus. Vestibulum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lect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sodales</a:t>
            </a:r>
            <a:r>
              <a:rPr lang="en-GB"/>
              <a:t> et ante </a:t>
            </a:r>
            <a:r>
              <a:rPr lang="en-GB" err="1"/>
              <a:t>elementum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.</a:t>
            </a:r>
          </a:p>
          <a:p>
            <a:pPr lvl="0"/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 et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blandit</a:t>
            </a:r>
            <a:r>
              <a:rPr lang="en-GB"/>
              <a:t>. Sed tempus </a:t>
            </a:r>
            <a:r>
              <a:rPr lang="en-GB" err="1"/>
              <a:t>pretium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mperdiet</a:t>
            </a:r>
            <a:r>
              <a:rPr lang="en-GB"/>
              <a:t>. Duis at </a:t>
            </a:r>
            <a:r>
              <a:rPr lang="en-GB" err="1"/>
              <a:t>felis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, lacinia </a:t>
            </a:r>
            <a:r>
              <a:rPr lang="en-GB" err="1"/>
              <a:t>orci</a:t>
            </a:r>
            <a:r>
              <a:rPr lang="en-GB"/>
              <a:t> non,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tortor</a:t>
            </a:r>
            <a:r>
              <a:rPr lang="en-GB"/>
              <a:t>. </a:t>
            </a:r>
            <a:r>
              <a:rPr lang="en-GB" err="1"/>
              <a:t>Vivamus</a:t>
            </a:r>
            <a:r>
              <a:rPr lang="en-GB"/>
              <a:t> pulvinar, </a:t>
            </a:r>
            <a:r>
              <a:rPr lang="en-GB" err="1"/>
              <a:t>nibh</a:t>
            </a:r>
            <a:r>
              <a:rPr lang="en-GB"/>
              <a:t> in </a:t>
            </a:r>
            <a:r>
              <a:rPr lang="en-GB" err="1"/>
              <a:t>fringilla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, ligula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,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imperdiet</a:t>
            </a:r>
            <a:r>
              <a:rPr lang="en-GB"/>
              <a:t> </a:t>
            </a:r>
            <a:r>
              <a:rPr lang="en-GB" err="1"/>
              <a:t>risus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Donec </a:t>
            </a:r>
            <a:r>
              <a:rPr lang="en-GB" err="1"/>
              <a:t>feugiat</a:t>
            </a:r>
            <a:r>
              <a:rPr lang="en-GB"/>
              <a:t>, </a:t>
            </a:r>
            <a:r>
              <a:rPr lang="en-GB" err="1"/>
              <a:t>lectu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ornare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, </a:t>
            </a:r>
            <a:r>
              <a:rPr lang="en-GB" err="1"/>
              <a:t>nunc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porttitor</a:t>
            </a:r>
            <a:r>
              <a:rPr lang="en-GB"/>
              <a:t> </a:t>
            </a:r>
            <a:r>
              <a:rPr lang="en-GB" err="1"/>
              <a:t>turpis</a:t>
            </a:r>
            <a:r>
              <a:rPr lang="en-GB"/>
              <a:t>, at </a:t>
            </a:r>
            <a:r>
              <a:rPr lang="en-GB" err="1"/>
              <a:t>posuere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condimentum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massa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nisi mi, </a:t>
            </a:r>
            <a:r>
              <a:rPr lang="en-GB" err="1"/>
              <a:t>molestie</a:t>
            </a:r>
            <a:r>
              <a:rPr lang="en-GB"/>
              <a:t> ac </a:t>
            </a:r>
            <a:r>
              <a:rPr lang="en-GB" err="1"/>
              <a:t>lacu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bibendum</a:t>
            </a:r>
            <a:r>
              <a:rPr lang="en-GB"/>
              <a:t> tempus </a:t>
            </a:r>
            <a:r>
              <a:rPr lang="en-GB" err="1"/>
              <a:t>turpi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nenatis</a:t>
            </a:r>
            <a:r>
              <a:rPr lang="en-GB"/>
              <a:t>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blandit</a:t>
            </a:r>
            <a:r>
              <a:rPr lang="en-GB"/>
              <a:t>.</a:t>
            </a:r>
          </a:p>
          <a:p>
            <a:pPr lvl="0"/>
            <a:r>
              <a:rPr lang="en-GB" err="1"/>
              <a:t>Vivamus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sem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in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, </a:t>
            </a:r>
            <a:r>
              <a:rPr lang="en-GB" err="1"/>
              <a:t>dapibus</a:t>
            </a:r>
            <a:r>
              <a:rPr lang="en-GB"/>
              <a:t> porta </a:t>
            </a:r>
            <a:r>
              <a:rPr lang="en-GB" err="1"/>
              <a:t>lectus</a:t>
            </a:r>
            <a:r>
              <a:rPr lang="en-GB"/>
              <a:t>. Cras pharetra nisi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sem</a:t>
            </a:r>
            <a:r>
              <a:rPr lang="en-GB"/>
              <a:t> maximus porta. Aenean et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risus</a:t>
            </a:r>
            <a:r>
              <a:rPr lang="en-GB"/>
              <a:t>. Maecenas a </a:t>
            </a:r>
            <a:r>
              <a:rPr lang="en-GB" err="1"/>
              <a:t>egestas</a:t>
            </a:r>
            <a:r>
              <a:rPr lang="en-GB"/>
              <a:t> </a:t>
            </a:r>
            <a:r>
              <a:rPr lang="en-GB" err="1"/>
              <a:t>massa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pretium</a:t>
            </a:r>
            <a:r>
              <a:rPr lang="en-GB"/>
              <a:t> ante,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efficitur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lacinia a. Sed id ex a </a:t>
            </a:r>
            <a:r>
              <a:rPr lang="en-GB" err="1"/>
              <a:t>neque</a:t>
            </a:r>
            <a:r>
              <a:rPr lang="en-GB"/>
              <a:t> </a:t>
            </a:r>
            <a:r>
              <a:rPr lang="en-GB" err="1"/>
              <a:t>aliquet</a:t>
            </a:r>
            <a:r>
              <a:rPr lang="en-GB"/>
              <a:t> porta vitae vitae diam. Sed vitae ante et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. Vestibulum </a:t>
            </a:r>
            <a:r>
              <a:rPr lang="en-GB" err="1"/>
              <a:t>enim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commodo</a:t>
            </a:r>
            <a:r>
              <a:rPr lang="en-GB"/>
              <a:t> in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malesuada</a:t>
            </a:r>
            <a:r>
              <a:rPr lang="en-GB"/>
              <a:t>, </a:t>
            </a:r>
            <a:r>
              <a:rPr lang="en-GB" err="1"/>
              <a:t>pretium</a:t>
            </a:r>
            <a:r>
              <a:rPr lang="en-GB"/>
              <a:t> porta </a:t>
            </a:r>
            <a:r>
              <a:rPr lang="en-GB" err="1"/>
              <a:t>arcu</a:t>
            </a:r>
            <a:r>
              <a:rPr lang="en-GB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214707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3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7193107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7188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DE5E48-A940-F13A-0D6A-1444B4C133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3" y="1667106"/>
            <a:ext cx="3337741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Etia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sollicitudin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congue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ante a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pretiu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.</a:t>
            </a:r>
            <a:endParaRPr lang="en-N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B5979C5-D246-5E11-0E60-F5C101D3D9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6745" y="1667106"/>
            <a:ext cx="3300094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Etia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sollicitudin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congue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ante a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pretiu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.</a:t>
            </a:r>
            <a:endParaRPr lang="en-NL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3DB7C85-8595-030D-4A8A-3F626BB707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7896" y="1667105"/>
            <a:ext cx="3300094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Etia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sollicitudin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congue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ante a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pretiu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.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298253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4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8128144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81394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DE5E48-A940-F13A-0D6A-1444B4C133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2366192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B5979C5-D246-5E11-0E60-F5C101D3D9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4720" y="1667106"/>
            <a:ext cx="2317430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 err="1"/>
              <a:t>cra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ligula diam. Vestibulum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ipsum. In convallis ac </a:t>
            </a:r>
            <a:r>
              <a:rPr lang="en-GB" err="1"/>
              <a:t>nibh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. Nam </a:t>
            </a:r>
            <a:r>
              <a:rPr lang="en-GB" err="1"/>
              <a:t>interdum</a:t>
            </a:r>
            <a:r>
              <a:rPr lang="en-GB"/>
              <a:t> magna </a:t>
            </a:r>
            <a:r>
              <a:rPr lang="en-GB" err="1"/>
              <a:t>orci</a:t>
            </a:r>
            <a:r>
              <a:rPr lang="en-GB"/>
              <a:t>,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 non. Nunc ligula </a:t>
            </a:r>
            <a:r>
              <a:rPr lang="en-GB" err="1"/>
              <a:t>dolor</a:t>
            </a:r>
            <a:r>
              <a:rPr lang="en-GB"/>
              <a:t>, </a:t>
            </a:r>
            <a:r>
              <a:rPr lang="en-GB" err="1"/>
              <a:t>posuere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orttitor</a:t>
            </a:r>
            <a:r>
              <a:rPr lang="en-GB"/>
              <a:t> semper, </a:t>
            </a:r>
            <a:r>
              <a:rPr lang="en-GB" err="1"/>
              <a:t>vehicula</a:t>
            </a:r>
            <a:r>
              <a:rPr lang="en-GB"/>
              <a:t> vitae </a:t>
            </a:r>
            <a:r>
              <a:rPr lang="en-GB" err="1"/>
              <a:t>qua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rna</a:t>
            </a:r>
            <a:r>
              <a:rPr lang="en-GB"/>
              <a:t>, </a:t>
            </a:r>
            <a:r>
              <a:rPr lang="en-GB" err="1"/>
              <a:t>rhoncus</a:t>
            </a:r>
            <a:r>
              <a:rPr lang="en-GB"/>
              <a:t> vitae </a:t>
            </a:r>
            <a:r>
              <a:rPr lang="en-GB" err="1"/>
              <a:t>odio</a:t>
            </a:r>
            <a:r>
              <a:rPr lang="en-GB"/>
              <a:t> in, vestibulum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Nunc et </a:t>
            </a:r>
            <a:r>
              <a:rPr lang="en-GB" err="1"/>
              <a:t>porttitor</a:t>
            </a:r>
            <a:r>
              <a:rPr lang="en-GB"/>
              <a:t> ipsum. Nunc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 maximus. </a:t>
            </a:r>
            <a:r>
              <a:rPr lang="en-GB" err="1"/>
              <a:t>Fusce</a:t>
            </a:r>
            <a:r>
              <a:rPr lang="en-GB"/>
              <a:t> cursus, nisi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, eros </a:t>
            </a:r>
            <a:r>
              <a:rPr lang="en-GB" err="1"/>
              <a:t>nibh</a:t>
            </a:r>
            <a:r>
              <a:rPr lang="en-GB"/>
              <a:t> fermentum ante, id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ligula.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</a:t>
            </a:r>
            <a:endParaRPr lang="en-NL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0173B41-F583-DC27-C9A7-CF936F7B2B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6959" y="1657581"/>
            <a:ext cx="2338707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7CCE8F1F-060A-8309-A2F2-E87A53FF36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07820" y="1657581"/>
            <a:ext cx="2378846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 err="1"/>
              <a:t>cra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ligula diam. Vestibulum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ipsum. In convallis ac </a:t>
            </a:r>
            <a:r>
              <a:rPr lang="en-GB" err="1"/>
              <a:t>nibh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. Nam </a:t>
            </a:r>
            <a:r>
              <a:rPr lang="en-GB" err="1"/>
              <a:t>interdum</a:t>
            </a:r>
            <a:r>
              <a:rPr lang="en-GB"/>
              <a:t> magna </a:t>
            </a:r>
            <a:r>
              <a:rPr lang="en-GB" err="1"/>
              <a:t>orci</a:t>
            </a:r>
            <a:r>
              <a:rPr lang="en-GB"/>
              <a:t>,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 non. Nunc ligula </a:t>
            </a:r>
            <a:r>
              <a:rPr lang="en-GB" err="1"/>
              <a:t>dolor</a:t>
            </a:r>
            <a:r>
              <a:rPr lang="en-GB"/>
              <a:t>, </a:t>
            </a:r>
            <a:r>
              <a:rPr lang="en-GB" err="1"/>
              <a:t>posuere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orttitor</a:t>
            </a:r>
            <a:r>
              <a:rPr lang="en-GB"/>
              <a:t> semper, </a:t>
            </a:r>
            <a:r>
              <a:rPr lang="en-GB" err="1"/>
              <a:t>vehicula</a:t>
            </a:r>
            <a:r>
              <a:rPr lang="en-GB"/>
              <a:t> vitae </a:t>
            </a:r>
            <a:r>
              <a:rPr lang="en-GB" err="1"/>
              <a:t>qua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rna</a:t>
            </a:r>
            <a:r>
              <a:rPr lang="en-GB"/>
              <a:t>, </a:t>
            </a:r>
            <a:r>
              <a:rPr lang="en-GB" err="1"/>
              <a:t>rhoncus</a:t>
            </a:r>
            <a:r>
              <a:rPr lang="en-GB"/>
              <a:t> vitae </a:t>
            </a:r>
            <a:r>
              <a:rPr lang="en-GB" err="1"/>
              <a:t>odio</a:t>
            </a:r>
            <a:r>
              <a:rPr lang="en-GB"/>
              <a:t> in, vestibulum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Nunc et </a:t>
            </a:r>
            <a:r>
              <a:rPr lang="en-GB" err="1"/>
              <a:t>porttitor</a:t>
            </a:r>
            <a:r>
              <a:rPr lang="en-GB"/>
              <a:t> ipsum. Nunc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 maximus. </a:t>
            </a:r>
            <a:r>
              <a:rPr lang="en-GB" err="1"/>
              <a:t>Fusce</a:t>
            </a:r>
            <a:r>
              <a:rPr lang="en-GB"/>
              <a:t> cursus, nisi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, eros </a:t>
            </a:r>
            <a:r>
              <a:rPr lang="en-GB" err="1"/>
              <a:t>nibh</a:t>
            </a:r>
            <a:r>
              <a:rPr lang="en-GB"/>
              <a:t> fermentum ante, id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ligula.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18546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54">
          <p15:clr>
            <a:srgbClr val="FBAE40"/>
          </p15:clr>
        </p15:guide>
        <p15:guide id="15" pos="585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conen - 2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6">
            <a:extLst>
              <a:ext uri="{FF2B5EF4-FFF2-40B4-BE49-F238E27FC236}">
                <a16:creationId xmlns:a16="http://schemas.microsoft.com/office/drawing/2014/main" id="{A0E80EF2-3846-A4AF-BCC3-DA58FF52D1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DDD94450-C969-0FDF-C274-BCF048FA5A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52597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88561EB-28B6-68DC-2BE4-FACBC7E8CB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3" y="3880082"/>
            <a:ext cx="5259709" cy="225648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  <a:endParaRPr lang="en-NL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552C63E-69E9-4462-01F1-4679A1E303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6713" y="3637020"/>
            <a:ext cx="523866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400" b="0" i="0"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lvl="0"/>
            <a:r>
              <a:rPr lang="en-GB"/>
              <a:t>Heading</a:t>
            </a:r>
            <a:endParaRPr lang="en-NL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4C3AF701-00EB-0BE5-78ED-334E72B76C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2202" y="3875165"/>
            <a:ext cx="5245918" cy="225648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  <a:endParaRPr lang="en-NL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FE0DEA4-AF7D-3E1B-951D-BFED9E75E4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22681" y="3632103"/>
            <a:ext cx="522865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400" b="0" i="0"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lvl="0"/>
            <a:r>
              <a:rPr lang="en-GB"/>
              <a:t>Heading</a:t>
            </a:r>
            <a:endParaRPr lang="en-NL"/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6B2C2264-8AE7-C213-D9C8-9A22C891B00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23888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22" name="Picture Placeholder 17">
            <a:extLst>
              <a:ext uri="{FF2B5EF4-FFF2-40B4-BE49-F238E27FC236}">
                <a16:creationId xmlns:a16="http://schemas.microsoft.com/office/drawing/2014/main" id="{4835AB4E-2F96-E58E-2274-D085A4A51159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6424873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2945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  <p15:guide id="10" orient="horz" pos="2160">
          <p15:clr>
            <a:srgbClr val="FBAE40"/>
          </p15:clr>
        </p15:guide>
        <p15:guide id="11" orient="horz" pos="2364">
          <p15:clr>
            <a:srgbClr val="FBAE40"/>
          </p15:clr>
        </p15:guide>
        <p15:guide id="12" orient="horz" pos="195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conen - 3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7193107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7188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3" name="Picture Placeholder 17">
            <a:extLst>
              <a:ext uri="{FF2B5EF4-FFF2-40B4-BE49-F238E27FC236}">
                <a16:creationId xmlns:a16="http://schemas.microsoft.com/office/drawing/2014/main" id="{B5707B45-96B2-638C-EA80-65D94B016BEC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23888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3BEB385-7455-8C7C-9460-2C8D99976D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3880082"/>
            <a:ext cx="3337742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di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.</a:t>
            </a:r>
            <a:endParaRPr lang="en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198D794-3315-0B8E-A1AF-B7913FA969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6713" y="3637020"/>
            <a:ext cx="333048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16569F27-5860-9176-018C-10072AD4C6E7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10088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7E6739C-EFAC-A0E8-6EE5-F8D6D0C6A2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2434" y="3870557"/>
            <a:ext cx="3304404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di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.</a:t>
            </a:r>
            <a:endParaRPr lang="en-NL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89D8D63-BE30-CD32-9999-0E86665B94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02913" y="3627495"/>
            <a:ext cx="328174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15" name="Picture Placeholder 17">
            <a:extLst>
              <a:ext uri="{FF2B5EF4-FFF2-40B4-BE49-F238E27FC236}">
                <a16:creationId xmlns:a16="http://schemas.microsoft.com/office/drawing/2014/main" id="{E1A5F802-0121-5714-1C06-55DD780A73B9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8367713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6EEAF85-2439-FABC-E245-273CE59AA0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70059" y="3861032"/>
            <a:ext cx="3304404" cy="2130193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di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.</a:t>
            </a:r>
            <a:endParaRPr lang="en-N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6922C47-1A6D-2DE4-1D38-969EC6664CB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0538" y="3617970"/>
            <a:ext cx="328174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911846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>
          <p15:clr>
            <a:srgbClr val="FBAE40"/>
          </p15:clr>
        </p15:guide>
        <p15:guide id="15" orient="horz" pos="195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conen - 4K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8128144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81394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70BE5C7-2CD3-893F-D105-91A9AEFB5A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3880082"/>
            <a:ext cx="2366191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</a:t>
            </a:r>
            <a:endParaRPr lang="en-NL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BA3E204-6150-529E-7E14-1B16E289AD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6713" y="3637020"/>
            <a:ext cx="2366191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EAD2237-42DE-CDE6-5B9C-C73AD88CB1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32473" y="3862358"/>
            <a:ext cx="2339677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</a:t>
            </a:r>
            <a:endParaRPr lang="en-NL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7378FD08-87C8-87D2-E768-2BB71B6338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2953" y="3619296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081A37B-1AED-2F08-FA25-69627CE1E4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24532" y="3872991"/>
            <a:ext cx="2327343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</a:t>
            </a:r>
            <a:endParaRPr lang="en-N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A3AD02F-B8B5-295C-11FC-548827D186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5012" y="3629929"/>
            <a:ext cx="2320086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0F82DF2-6BE8-BF38-819E-07BD61E02A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0771" y="3855267"/>
            <a:ext cx="2339677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</a:t>
            </a:r>
            <a:endParaRPr lang="en-NL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C41C90D-B8FE-1D97-68F2-49CA92C3E0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21251" y="361220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16303B06-CBCB-2013-479F-0799BE907E9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23888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22" name="Picture Placeholder 17">
            <a:extLst>
              <a:ext uri="{FF2B5EF4-FFF2-40B4-BE49-F238E27FC236}">
                <a16:creationId xmlns:a16="http://schemas.microsoft.com/office/drawing/2014/main" id="{4DC85385-0A58-894A-13BD-C86DD6DE169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545353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23" name="Picture Placeholder 17">
            <a:extLst>
              <a:ext uri="{FF2B5EF4-FFF2-40B4-BE49-F238E27FC236}">
                <a16:creationId xmlns:a16="http://schemas.microsoft.com/office/drawing/2014/main" id="{3617FBD2-BB51-37DB-8013-E3A4753F468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9315670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A23A3ED5-6F93-AA8A-8606-FB6B50BE91C9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6424873" y="3114446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24032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54">
          <p15:clr>
            <a:srgbClr val="FBAE40"/>
          </p15:clr>
        </p15:guide>
        <p15:guide id="15" pos="5858">
          <p15:clr>
            <a:srgbClr val="FBAE40"/>
          </p15:clr>
        </p15:guide>
        <p15:guide id="16" orient="horz" pos="1956">
          <p15:clr>
            <a:srgbClr val="FBAE40"/>
          </p15:clr>
        </p15:guide>
        <p15:guide id="17" orient="horz" pos="2160">
          <p15:clr>
            <a:srgbClr val="FBAE40"/>
          </p15:clr>
        </p15:guide>
        <p15:guide id="18" orient="horz" pos="236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conen - 4Bloc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2379983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23799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0F82DF2-6BE8-BF38-819E-07BD61E02A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0771" y="4475999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C41C90D-B8FE-1D97-68F2-49CA92C3E0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21251" y="4232936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429077A-6D0D-2387-F957-5222A2219A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13049" y="1672549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D8A5329-7D83-075F-0814-D15E4D4666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3529" y="1429486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00B19E9-F03C-647D-3393-72DE0FE0FB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42257" y="4468908"/>
            <a:ext cx="2321955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84119AF7-3B54-20BA-D9BE-CFA31FEA83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32737" y="422584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7DF986CF-979A-4D59-16FA-285D063863E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24535" y="1665458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BCC51BA-5FCE-A491-B6D0-20DEA87610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15015" y="142239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DCCEE7D-5EE1-8B76-37AB-7FA654639D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2366192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F8D5A429-00A3-3061-8A26-DE4F2B7B5C9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419850" y="957435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30" name="Picture Placeholder 17">
            <a:extLst>
              <a:ext uri="{FF2B5EF4-FFF2-40B4-BE49-F238E27FC236}">
                <a16:creationId xmlns:a16="http://schemas.microsoft.com/office/drawing/2014/main" id="{3817EE44-6B80-9280-BF98-14E861A48F7F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9310973" y="957435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33" name="Picture Placeholder 17">
            <a:extLst>
              <a:ext uri="{FF2B5EF4-FFF2-40B4-BE49-F238E27FC236}">
                <a16:creationId xmlns:a16="http://schemas.microsoft.com/office/drawing/2014/main" id="{04B2207D-4322-8DE6-6AB7-BD4F3A5FD6CC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6419850" y="3750969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34" name="Picture Placeholder 17">
            <a:extLst>
              <a:ext uri="{FF2B5EF4-FFF2-40B4-BE49-F238E27FC236}">
                <a16:creationId xmlns:a16="http://schemas.microsoft.com/office/drawing/2014/main" id="{AC1A4847-C64E-CB19-7269-25938405396C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9302584" y="3750969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10323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54">
          <p15:clr>
            <a:srgbClr val="FBAE40"/>
          </p15:clr>
        </p15:guide>
        <p15:guide id="15" pos="5858">
          <p15:clr>
            <a:srgbClr val="FBAE40"/>
          </p15:clr>
        </p15:guide>
        <p15:guide id="16" orient="horz" pos="1956">
          <p15:clr>
            <a:srgbClr val="FBAE40"/>
          </p15:clr>
        </p15:guide>
        <p15:guide id="17" orient="horz" pos="2160">
          <p15:clr>
            <a:srgbClr val="FBAE40"/>
          </p15:clr>
        </p15:guide>
        <p15:guide id="18" orient="horz" pos="236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 - Roz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">
            <a:extLst>
              <a:ext uri="{FF2B5EF4-FFF2-40B4-BE49-F238E27FC236}">
                <a16:creationId xmlns:a16="http://schemas.microsoft.com/office/drawing/2014/main" id="{F02C95B8-05D0-7898-EDE6-7E2ADF86821E}"/>
              </a:ext>
            </a:extLst>
          </p:cNvPr>
          <p:cNvSpPr/>
          <p:nvPr userDrawn="1"/>
        </p:nvSpPr>
        <p:spPr>
          <a:xfrm rot="10800000" flipH="1">
            <a:off x="140960" y="147897"/>
            <a:ext cx="11924040" cy="6591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263" y="0"/>
                </a:moveTo>
                <a:cubicBezTo>
                  <a:pt x="225" y="0"/>
                  <a:pt x="194" y="0"/>
                  <a:pt x="169" y="3"/>
                </a:cubicBezTo>
                <a:cubicBezTo>
                  <a:pt x="143" y="6"/>
                  <a:pt x="124" y="12"/>
                  <a:pt x="109" y="24"/>
                </a:cubicBezTo>
                <a:cubicBezTo>
                  <a:pt x="87" y="38"/>
                  <a:pt x="67" y="62"/>
                  <a:pt x="50" y="91"/>
                </a:cubicBezTo>
                <a:cubicBezTo>
                  <a:pt x="34" y="121"/>
                  <a:pt x="21" y="157"/>
                  <a:pt x="13" y="197"/>
                </a:cubicBezTo>
                <a:cubicBezTo>
                  <a:pt x="7" y="225"/>
                  <a:pt x="3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3" y="21340"/>
                  <a:pt x="7" y="21375"/>
                  <a:pt x="13" y="21403"/>
                </a:cubicBezTo>
                <a:cubicBezTo>
                  <a:pt x="21" y="21443"/>
                  <a:pt x="34" y="21479"/>
                  <a:pt x="50" y="21509"/>
                </a:cubicBezTo>
                <a:cubicBezTo>
                  <a:pt x="67" y="21538"/>
                  <a:pt x="87" y="21562"/>
                  <a:pt x="109" y="21576"/>
                </a:cubicBezTo>
                <a:cubicBezTo>
                  <a:pt x="124" y="21588"/>
                  <a:pt x="143" y="21595"/>
                  <a:pt x="169" y="21597"/>
                </a:cubicBezTo>
                <a:cubicBezTo>
                  <a:pt x="169" y="21597"/>
                  <a:pt x="169" y="21597"/>
                  <a:pt x="169" y="21597"/>
                </a:cubicBezTo>
                <a:cubicBezTo>
                  <a:pt x="194" y="21599"/>
                  <a:pt x="225" y="21600"/>
                  <a:pt x="263" y="21600"/>
                </a:cubicBezTo>
                <a:cubicBezTo>
                  <a:pt x="263" y="21600"/>
                  <a:pt x="264" y="21600"/>
                  <a:pt x="264" y="21600"/>
                </a:cubicBezTo>
                <a:lnTo>
                  <a:pt x="7428" y="21600"/>
                </a:lnTo>
                <a:lnTo>
                  <a:pt x="8769" y="21600"/>
                </a:lnTo>
                <a:cubicBezTo>
                  <a:pt x="8808" y="21600"/>
                  <a:pt x="8839" y="21600"/>
                  <a:pt x="8864" y="21597"/>
                </a:cubicBezTo>
                <a:cubicBezTo>
                  <a:pt x="8876" y="21596"/>
                  <a:pt x="8883" y="21590"/>
                  <a:pt x="8892" y="21587"/>
                </a:cubicBezTo>
                <a:lnTo>
                  <a:pt x="8893" y="21593"/>
                </a:lnTo>
                <a:cubicBezTo>
                  <a:pt x="9861" y="21210"/>
                  <a:pt x="10772" y="20552"/>
                  <a:pt x="11600" y="19665"/>
                </a:cubicBezTo>
                <a:cubicBezTo>
                  <a:pt x="12427" y="18778"/>
                  <a:pt x="13170" y="17661"/>
                  <a:pt x="13803" y="16360"/>
                </a:cubicBezTo>
                <a:lnTo>
                  <a:pt x="11968" y="6"/>
                </a:lnTo>
                <a:lnTo>
                  <a:pt x="8866" y="2"/>
                </a:lnTo>
                <a:lnTo>
                  <a:pt x="8866" y="4"/>
                </a:lnTo>
                <a:cubicBezTo>
                  <a:pt x="8865" y="3"/>
                  <a:pt x="8864" y="3"/>
                  <a:pt x="8864" y="3"/>
                </a:cubicBezTo>
                <a:cubicBezTo>
                  <a:pt x="8839" y="0"/>
                  <a:pt x="8808" y="0"/>
                  <a:pt x="8769" y="0"/>
                </a:cubicBezTo>
                <a:lnTo>
                  <a:pt x="4900" y="0"/>
                </a:lnTo>
                <a:lnTo>
                  <a:pt x="263" y="0"/>
                </a:lnTo>
                <a:close/>
                <a:moveTo>
                  <a:pt x="13803" y="16360"/>
                </a:moveTo>
                <a:lnTo>
                  <a:pt x="14391" y="21600"/>
                </a:lnTo>
                <a:lnTo>
                  <a:pt x="21336" y="21600"/>
                </a:lnTo>
                <a:cubicBezTo>
                  <a:pt x="21375" y="21600"/>
                  <a:pt x="21406" y="21600"/>
                  <a:pt x="21431" y="21597"/>
                </a:cubicBezTo>
                <a:cubicBezTo>
                  <a:pt x="21456" y="21594"/>
                  <a:pt x="21476" y="21588"/>
                  <a:pt x="21491" y="21576"/>
                </a:cubicBezTo>
                <a:cubicBezTo>
                  <a:pt x="21513" y="21562"/>
                  <a:pt x="21533" y="21538"/>
                  <a:pt x="21550" y="21509"/>
                </a:cubicBezTo>
                <a:cubicBezTo>
                  <a:pt x="21566" y="21479"/>
                  <a:pt x="21579" y="21443"/>
                  <a:pt x="21587" y="21403"/>
                </a:cubicBezTo>
                <a:cubicBezTo>
                  <a:pt x="21593" y="21375"/>
                  <a:pt x="21597" y="21340"/>
                  <a:pt x="21598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8" y="305"/>
                </a:cubicBezTo>
                <a:cubicBezTo>
                  <a:pt x="21597" y="260"/>
                  <a:pt x="21593" y="225"/>
                  <a:pt x="21587" y="197"/>
                </a:cubicBezTo>
                <a:cubicBezTo>
                  <a:pt x="21579" y="157"/>
                  <a:pt x="21566" y="121"/>
                  <a:pt x="21550" y="91"/>
                </a:cubicBezTo>
                <a:cubicBezTo>
                  <a:pt x="21533" y="62"/>
                  <a:pt x="21513" y="38"/>
                  <a:pt x="21491" y="24"/>
                </a:cubicBezTo>
                <a:cubicBezTo>
                  <a:pt x="21476" y="12"/>
                  <a:pt x="21456" y="6"/>
                  <a:pt x="21431" y="3"/>
                </a:cubicBezTo>
                <a:cubicBezTo>
                  <a:pt x="21406" y="0"/>
                  <a:pt x="21375" y="0"/>
                  <a:pt x="21336" y="0"/>
                </a:cubicBezTo>
                <a:lnTo>
                  <a:pt x="15505" y="0"/>
                </a:lnTo>
                <a:cubicBezTo>
                  <a:pt x="16187" y="3303"/>
                  <a:pt x="16247" y="6921"/>
                  <a:pt x="15676" y="10292"/>
                </a:cubicBezTo>
                <a:cubicBezTo>
                  <a:pt x="15291" y="12571"/>
                  <a:pt x="14645" y="14629"/>
                  <a:pt x="13803" y="1636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B2D3C6BE-5532-20DA-6FD5-A135BE2C1446}"/>
              </a:ext>
            </a:extLst>
          </p:cNvPr>
          <p:cNvSpPr/>
          <p:nvPr userDrawn="1"/>
        </p:nvSpPr>
        <p:spPr>
          <a:xfrm rot="10800000" flipH="1">
            <a:off x="7733654" y="151784"/>
            <a:ext cx="4330725" cy="65791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0" y="16375"/>
                </a:moveTo>
                <a:lnTo>
                  <a:pt x="17" y="16360"/>
                </a:lnTo>
                <a:lnTo>
                  <a:pt x="0" y="16375"/>
                </a:lnTo>
                <a:close/>
                <a:moveTo>
                  <a:pt x="17" y="16360"/>
                </a:moveTo>
                <a:lnTo>
                  <a:pt x="1637" y="21600"/>
                </a:lnTo>
                <a:lnTo>
                  <a:pt x="20873" y="21600"/>
                </a:lnTo>
                <a:cubicBezTo>
                  <a:pt x="20980" y="21600"/>
                  <a:pt x="21065" y="21600"/>
                  <a:pt x="21134" y="21597"/>
                </a:cubicBezTo>
                <a:cubicBezTo>
                  <a:pt x="21204" y="21594"/>
                  <a:pt x="21257" y="21588"/>
                  <a:pt x="21300" y="21576"/>
                </a:cubicBezTo>
                <a:cubicBezTo>
                  <a:pt x="21361" y="21562"/>
                  <a:pt x="21416" y="21538"/>
                  <a:pt x="21461" y="21509"/>
                </a:cubicBezTo>
                <a:cubicBezTo>
                  <a:pt x="21506" y="21479"/>
                  <a:pt x="21542" y="21443"/>
                  <a:pt x="21564" y="21403"/>
                </a:cubicBezTo>
                <a:cubicBezTo>
                  <a:pt x="21582" y="21375"/>
                  <a:pt x="21591" y="21340"/>
                  <a:pt x="21596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6" y="305"/>
                </a:cubicBezTo>
                <a:cubicBezTo>
                  <a:pt x="21591" y="260"/>
                  <a:pt x="21582" y="225"/>
                  <a:pt x="21564" y="197"/>
                </a:cubicBezTo>
                <a:cubicBezTo>
                  <a:pt x="21542" y="157"/>
                  <a:pt x="21506" y="121"/>
                  <a:pt x="21461" y="91"/>
                </a:cubicBezTo>
                <a:cubicBezTo>
                  <a:pt x="21416" y="62"/>
                  <a:pt x="21361" y="38"/>
                  <a:pt x="21300" y="24"/>
                </a:cubicBezTo>
                <a:cubicBezTo>
                  <a:pt x="21257" y="12"/>
                  <a:pt x="21204" y="6"/>
                  <a:pt x="21134" y="3"/>
                </a:cubicBezTo>
                <a:cubicBezTo>
                  <a:pt x="21065" y="0"/>
                  <a:pt x="20980" y="0"/>
                  <a:pt x="20873" y="0"/>
                </a:cubicBezTo>
                <a:lnTo>
                  <a:pt x="4708" y="0"/>
                </a:lnTo>
                <a:cubicBezTo>
                  <a:pt x="6586" y="3303"/>
                  <a:pt x="6752" y="6921"/>
                  <a:pt x="5180" y="10292"/>
                </a:cubicBezTo>
                <a:cubicBezTo>
                  <a:pt x="4117" y="12571"/>
                  <a:pt x="2337" y="14629"/>
                  <a:pt x="17" y="16360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accent2"/>
            </a:solidFill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D90820B-FD17-95C0-08BA-9B5995D06C7E}"/>
              </a:ext>
            </a:extLst>
          </p:cNvPr>
          <p:cNvSpPr>
            <a:spLocks noChangeAspect="1"/>
          </p:cNvSpPr>
          <p:nvPr userDrawn="1"/>
        </p:nvSpPr>
        <p:spPr>
          <a:xfrm>
            <a:off x="8637736" y="6671358"/>
            <a:ext cx="90000" cy="900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B70699-B931-C207-D549-15E93C7C95DE}"/>
              </a:ext>
            </a:extLst>
          </p:cNvPr>
          <p:cNvSpPr txBox="1"/>
          <p:nvPr userDrawn="1"/>
        </p:nvSpPr>
        <p:spPr>
          <a:xfrm rot="16868678">
            <a:off x="7410406" y="751572"/>
            <a:ext cx="13640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GB" sz="2400" err="1">
                <a:solidFill>
                  <a:schemeClr val="accent2"/>
                </a:solidFill>
                <a:latin typeface="Caveat" pitchFamily="2" charset="0"/>
                <a:cs typeface="Archivo" pitchFamily="2" charset="77"/>
              </a:rPr>
              <a:t>waaronder</a:t>
            </a:r>
            <a:r>
              <a:rPr lang="en-GB" sz="2400">
                <a:solidFill>
                  <a:schemeClr val="accent2"/>
                </a:solidFill>
                <a:latin typeface="Caveat" pitchFamily="2" charset="0"/>
                <a:cs typeface="Archivo" pitchFamily="2" charset="77"/>
              </a:rPr>
              <a:t>:</a:t>
            </a:r>
            <a:endParaRPr lang="en-NL" sz="2400">
              <a:solidFill>
                <a:schemeClr val="accent2"/>
              </a:solidFill>
              <a:latin typeface="Caveat" pitchFamily="2" charset="0"/>
              <a:cs typeface="Archivo" pitchFamily="2" charset="77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0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3DA0C48-0FD8-CBF1-46DD-1DBA9C39FE7E}"/>
              </a:ext>
            </a:extLst>
          </p:cNvPr>
          <p:cNvSpPr>
            <a:spLocks noChangeAspect="1"/>
          </p:cNvSpPr>
          <p:nvPr userDrawn="1"/>
        </p:nvSpPr>
        <p:spPr>
          <a:xfrm>
            <a:off x="4974117" y="96642"/>
            <a:ext cx="90000" cy="900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56A10A41-3B00-73CE-EEC3-A5E8E7C2C8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6251" y="4709821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6</a:t>
            </a:r>
            <a:endParaRPr lang="en-NL"/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4A0DA507-5254-04D4-8215-D34A6F803F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59311" y="5109215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DA4BCC5F-FFA9-CF89-E984-23374E5F4A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08942" y="518726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1</a:t>
            </a:r>
            <a:endParaRPr lang="en-NL"/>
          </a:p>
        </p:txBody>
      </p:sp>
      <p:sp>
        <p:nvSpPr>
          <p:cNvPr id="6" name="Text Placeholder 36">
            <a:extLst>
              <a:ext uri="{FF2B5EF4-FFF2-40B4-BE49-F238E27FC236}">
                <a16:creationId xmlns:a16="http://schemas.microsoft.com/office/drawing/2014/main" id="{7C723C09-1745-53A3-6B2F-A94E6E23345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72002" y="918120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580FC8D1-DCF2-83DB-2692-E0C3395506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05228" y="1358040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2</a:t>
            </a:r>
            <a:endParaRPr lang="en-NL"/>
          </a:p>
        </p:txBody>
      </p:sp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14AF1E14-A7BE-0589-0E2B-C0E1E16A88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68288" y="1757434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376E6001-A0E2-2678-2D0D-7AA28F4B66F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2664" y="2199359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3</a:t>
            </a:r>
            <a:endParaRPr lang="en-NL"/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6E5DC077-73F7-DA71-A6F2-F8201EB8DD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75724" y="2598753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EA58A1BA-5934-AE04-CCAF-36086A90B27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1514" y="3044398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4</a:t>
            </a:r>
            <a:endParaRPr lang="en-NL"/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8A1CDFB5-C8D1-EE94-FC47-928C234D7CF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64574" y="3443792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0" name="Text Placeholder 36">
            <a:extLst>
              <a:ext uri="{FF2B5EF4-FFF2-40B4-BE49-F238E27FC236}">
                <a16:creationId xmlns:a16="http://schemas.microsoft.com/office/drawing/2014/main" id="{2B9DA2B4-45E2-35C8-1D58-9F114332D7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8950" y="3885717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5</a:t>
            </a:r>
            <a:endParaRPr lang="en-NL"/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DF26F2E2-2875-F813-073A-C4B1AE97D26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72010" y="4285111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4" name="Text Placeholder 36">
            <a:extLst>
              <a:ext uri="{FF2B5EF4-FFF2-40B4-BE49-F238E27FC236}">
                <a16:creationId xmlns:a16="http://schemas.microsoft.com/office/drawing/2014/main" id="{8A58873A-5539-DC35-58D1-5C0678749BD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2347" y="5557165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2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7</a:t>
            </a:r>
            <a:endParaRPr lang="en-NL"/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555EDA81-D70C-8A17-C03C-59DBA387249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65407" y="5956559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54818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conen - 6Bloc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2379983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23799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0F82DF2-6BE8-BF38-819E-07BD61E02A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0771" y="4475999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C41C90D-B8FE-1D97-68F2-49CA92C3E0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21251" y="4232936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429077A-6D0D-2387-F957-5222A2219A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13049" y="1672549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D8A5329-7D83-075F-0814-D15E4D4666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3529" y="1429486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00B19E9-F03C-647D-3393-72DE0FE0FB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42257" y="4468908"/>
            <a:ext cx="2321955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84119AF7-3B54-20BA-D9BE-CFA31FEA83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32737" y="422584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7DF986CF-979A-4D59-16FA-285D063863E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24535" y="1665458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BCC51BA-5FCE-A491-B6D0-20DEA87610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15015" y="142239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DCCEE7D-5EE1-8B76-37AB-7FA654639D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2366192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F8D5A429-00A3-3061-8A26-DE4F2B7B5C9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419850" y="957435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30" name="Picture Placeholder 17">
            <a:extLst>
              <a:ext uri="{FF2B5EF4-FFF2-40B4-BE49-F238E27FC236}">
                <a16:creationId xmlns:a16="http://schemas.microsoft.com/office/drawing/2014/main" id="{3817EE44-6B80-9280-BF98-14E861A48F7F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9310973" y="957435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33" name="Picture Placeholder 17">
            <a:extLst>
              <a:ext uri="{FF2B5EF4-FFF2-40B4-BE49-F238E27FC236}">
                <a16:creationId xmlns:a16="http://schemas.microsoft.com/office/drawing/2014/main" id="{04B2207D-4322-8DE6-6AB7-BD4F3A5FD6CC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6419850" y="3750969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34" name="Picture Placeholder 17">
            <a:extLst>
              <a:ext uri="{FF2B5EF4-FFF2-40B4-BE49-F238E27FC236}">
                <a16:creationId xmlns:a16="http://schemas.microsoft.com/office/drawing/2014/main" id="{AC1A4847-C64E-CB19-7269-25938405396C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9302584" y="3750969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1624B3E-47C4-0AA5-BD73-BAF31D0EF65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460157" y="4459468"/>
            <a:ext cx="2321955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2C5468F-B8B5-82C7-8A79-CE3FB10A2E6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450637" y="421640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3F60FD6-6F33-B8B8-0A54-35214A6E7F8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42435" y="1656018"/>
            <a:ext cx="2339677" cy="128199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3E8919A-426E-E209-9624-4E6F4392ED8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432915" y="1412955"/>
            <a:ext cx="2332420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4F741FA4-50E3-E917-98CB-0396FE0D8D0C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3537750" y="947995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  <p:sp>
        <p:nvSpPr>
          <p:cNvPr id="11" name="Picture Placeholder 17">
            <a:extLst>
              <a:ext uri="{FF2B5EF4-FFF2-40B4-BE49-F238E27FC236}">
                <a16:creationId xmlns:a16="http://schemas.microsoft.com/office/drawing/2014/main" id="{FA5A9C34-7A73-C02D-97C6-B530C935FAA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537750" y="3741529"/>
            <a:ext cx="361147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7947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54">
          <p15:clr>
            <a:srgbClr val="FBAE40"/>
          </p15:clr>
        </p15:guide>
        <p15:guide id="15" pos="5858">
          <p15:clr>
            <a:srgbClr val="FBAE40"/>
          </p15:clr>
        </p15:guide>
        <p15:guide id="16" orient="horz" pos="1956">
          <p15:clr>
            <a:srgbClr val="FBAE40"/>
          </p15:clr>
        </p15:guide>
        <p15:guide id="17" orient="horz" pos="2160">
          <p15:clr>
            <a:srgbClr val="FBAE40"/>
          </p15:clr>
        </p15:guide>
        <p15:guide id="18" orient="horz" pos="236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somm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524841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DCCEE7D-5EE1-8B76-37AB-7FA654639D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5245916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0AE1693-66F3-0157-ED02-C6ED4AF41F9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67155" y="1017775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7BB7D7C-1A02-020C-AE65-FADD880D10C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67155" y="1666687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0EE27996-FDC0-773C-9485-B75ACEB5BD7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67155" y="5560157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AC6DAB45-05E3-CEAA-109C-6F5353291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67155" y="4911247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F5BDA82E-997A-EB27-429F-786F68CF1FC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67155" y="4262335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45E8A077-C227-DED4-A173-BA4BA2F39E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967155" y="3613423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31501069-B313-623D-C63D-5B8F22C0BF6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967155" y="2964511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47AE258B-51FD-FC35-EEAB-8289C47DB72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967155" y="2315599"/>
            <a:ext cx="460095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lang="en-NL" sz="1200" b="0" i="0" kern="1200" dirty="0">
                <a:solidFill>
                  <a:schemeClr val="tx1"/>
                </a:solidFill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Loru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scip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281445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54">
          <p15:clr>
            <a:srgbClr val="FBAE40"/>
          </p15:clr>
        </p15:guide>
        <p15:guide id="15" pos="5858">
          <p15:clr>
            <a:srgbClr val="FBAE40"/>
          </p15:clr>
        </p15:guide>
        <p15:guide id="16" orient="horz" pos="1956">
          <p15:clr>
            <a:srgbClr val="FBAE40"/>
          </p15:clr>
        </p15:guide>
        <p15:guide id="17" orient="horz" pos="2160">
          <p15:clr>
            <a:srgbClr val="FBAE40"/>
          </p15:clr>
        </p15:guide>
        <p15:guide id="18" orient="horz" pos="2364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1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6">
            <a:extLst>
              <a:ext uri="{FF2B5EF4-FFF2-40B4-BE49-F238E27FC236}">
                <a16:creationId xmlns:a16="http://schemas.microsoft.com/office/drawing/2014/main" id="{A0E80EF2-3846-A4AF-BCC3-DA58FF52D1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DDD94450-C969-0FDF-C274-BCF048FA5A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52597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88561EB-28B6-68DC-2BE4-FACBC7E8CB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3" y="1667106"/>
            <a:ext cx="5259709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 Ut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. Donec maximus </a:t>
            </a:r>
            <a:r>
              <a:rPr lang="en-GB" err="1"/>
              <a:t>leo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egestas</a:t>
            </a:r>
            <a:r>
              <a:rPr lang="en-GB"/>
              <a:t>. Morbi id </a:t>
            </a:r>
            <a:r>
              <a:rPr lang="en-GB" err="1"/>
              <a:t>sem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non at </a:t>
            </a:r>
            <a:r>
              <a:rPr lang="en-GB" err="1"/>
              <a:t>turpis</a:t>
            </a:r>
            <a:r>
              <a:rPr lang="en-GB"/>
              <a:t>. Nam id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.</a:t>
            </a:r>
          </a:p>
          <a:p>
            <a:pPr lvl="0"/>
            <a:r>
              <a:rPr lang="en-GB"/>
              <a:t>Cras sit </a:t>
            </a:r>
            <a:r>
              <a:rPr lang="en-GB" err="1"/>
              <a:t>amet</a:t>
            </a:r>
            <a:r>
              <a:rPr lang="en-GB"/>
              <a:t> ligula diam. Vestibulum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ipsum. In convallis ac </a:t>
            </a:r>
            <a:r>
              <a:rPr lang="en-GB" err="1"/>
              <a:t>nibh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. Nam </a:t>
            </a:r>
            <a:r>
              <a:rPr lang="en-GB" err="1"/>
              <a:t>interdum</a:t>
            </a:r>
            <a:r>
              <a:rPr lang="en-GB"/>
              <a:t> magna </a:t>
            </a:r>
            <a:r>
              <a:rPr lang="en-GB" err="1"/>
              <a:t>orci</a:t>
            </a:r>
            <a:r>
              <a:rPr lang="en-GB"/>
              <a:t>,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 non. Nunc ligula </a:t>
            </a:r>
            <a:r>
              <a:rPr lang="en-GB" err="1"/>
              <a:t>dolor</a:t>
            </a:r>
            <a:r>
              <a:rPr lang="en-GB"/>
              <a:t>, </a:t>
            </a:r>
            <a:r>
              <a:rPr lang="en-GB" err="1"/>
              <a:t>posseru</a:t>
            </a:r>
            <a:endParaRPr lang="en-NL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E010313-DF27-73DD-2882-1E3ABDB602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19850" y="620713"/>
            <a:ext cx="5148263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5002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3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E8F3C941-9209-56F6-EF53-C65BFE2112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2" y="848432"/>
            <a:ext cx="3351532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C0F860A4-DDE0-0793-0535-E58ABD3921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33515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F93AC2-8864-BAC7-12DA-0D8E79997E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3" y="1667106"/>
            <a:ext cx="3337741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vitae </a:t>
            </a:r>
            <a:r>
              <a:rPr lang="en-GB" err="1"/>
              <a:t>commodo</a:t>
            </a:r>
            <a:r>
              <a:rPr lang="en-GB"/>
              <a:t> ex.</a:t>
            </a:r>
          </a:p>
          <a:p>
            <a:pPr lvl="0"/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Etia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sollicitudin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congue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 ante a </a:t>
            </a:r>
            <a:r>
              <a:rPr lang="en-GB" b="0" i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pretium</a:t>
            </a:r>
            <a:r>
              <a:rPr lang="en-GB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.</a:t>
            </a:r>
            <a:endParaRPr lang="en-NL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C6193564-1C60-3054-3A29-749F0BF438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27907" y="620712"/>
            <a:ext cx="2127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BFBA198D-7ED6-84EE-7009-576091CD813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79357" y="620713"/>
            <a:ext cx="2127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B462E001-F48D-55C1-2232-EBCD2B1C2F2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440513" y="620711"/>
            <a:ext cx="2127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7723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>
          <p15:clr>
            <a:srgbClr val="FBAE40"/>
          </p15:clr>
        </p15:guide>
        <p15:guide id="15" orient="horz" pos="195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1Rechtson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5824" y="22937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7193107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7188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19BCA861-5737-9F3A-45B2-BA1F9EF8867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11675" y="3105150"/>
            <a:ext cx="7056438" cy="3132138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D3EC76-A842-9400-0F0C-8A1BB86565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4203762"/>
            <a:ext cx="3337742" cy="213901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di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.</a:t>
            </a:r>
            <a:endParaRPr lang="en-N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C1B0B98-A43D-6012-56CC-EFF122D565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6713" y="3960700"/>
            <a:ext cx="333048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28459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>
          <p15:clr>
            <a:srgbClr val="FBAE40"/>
          </p15:clr>
        </p15:guide>
        <p15:guide id="15" orient="horz" pos="195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Opsomm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55824" y="22937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7193107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7188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19BCA861-5737-9F3A-45B2-BA1F9EF8867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3888" y="2220259"/>
            <a:ext cx="3223309" cy="2417482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D3EC76-A842-9400-0F0C-8A1BB86565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5105165"/>
            <a:ext cx="3337742" cy="12179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</a:t>
            </a:r>
            <a:endParaRPr lang="en-N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C1B0B98-A43D-6012-56CC-EFF122D565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6713" y="4862103"/>
            <a:ext cx="333048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38D97AEF-D3A0-A7FF-54FC-BFA28717E99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10084" y="2198488"/>
            <a:ext cx="3223309" cy="2417482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C0E4E0DC-B823-AE67-7208-1E6BB8EE98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12430" y="5083394"/>
            <a:ext cx="3337742" cy="12179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</a:t>
            </a:r>
            <a:endParaRPr lang="en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F8E37B2-4546-9F9C-BA13-9071E9C0BE8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2909" y="4840332"/>
            <a:ext cx="333048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ADC9E47-0099-F094-1EBB-887116D0B01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67250" y="2198488"/>
            <a:ext cx="3223309" cy="2417482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1783D1E-7038-21F4-525C-E4ECFD8FF5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9596" y="5083394"/>
            <a:ext cx="3337742" cy="12179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50000"/>
              </a:lnSpc>
              <a:buNone/>
              <a:defRPr sz="1000" b="0" i="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</a:t>
            </a:r>
            <a:endParaRPr lang="en-NL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3F36F91-6448-A7C8-29D9-AFDA1769E5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0075" y="4840332"/>
            <a:ext cx="3330484" cy="33994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lang="en-NL" sz="1400" b="0" i="0" kern="1200" dirty="0">
                <a:solidFill>
                  <a:schemeClr val="tx1"/>
                </a:solidFill>
                <a:latin typeface="Archivo Medium" pitchFamily="2" charset="77"/>
                <a:ea typeface="Noto Sans ExtraBold" panose="020B0502040504020204" pitchFamily="34" charset="0"/>
                <a:cs typeface="Archivo Medium" pitchFamily="2" charset="77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/>
              <a:t>Heading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652308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>
          <p15:clr>
            <a:srgbClr val="FBAE40"/>
          </p15:clr>
        </p15:guide>
        <p15:guide id="15" orient="horz" pos="195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punten - 1Blo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756BBC8F-DB97-B47B-553D-AC60DE9DE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11044382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7E58A947-B3B9-07FF-6E8F-8BB8AAC04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52597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6549856-4B9A-5CCF-1D93-BAFDD4FBD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7"/>
            <a:ext cx="5245916" cy="11852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</a:t>
            </a:r>
            <a:endParaRPr lang="en-NL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438B926-C229-C44A-34CE-7C6C85CB3504}"/>
              </a:ext>
            </a:extLst>
          </p:cNvPr>
          <p:cNvSpPr/>
          <p:nvPr userDrawn="1"/>
        </p:nvSpPr>
        <p:spPr>
          <a:xfrm>
            <a:off x="623889" y="3694127"/>
            <a:ext cx="8388350" cy="2230301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141B3401-E0DB-4890-EF42-497667C2EB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7514" y="4441175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3D2101AF-FD56-9264-4F07-7A700EBE7B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01422" y="5128864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DE75758-921F-1C96-9916-BEA665704D3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8686" y="4436623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6" name="Text Placeholder 36">
            <a:extLst>
              <a:ext uri="{FF2B5EF4-FFF2-40B4-BE49-F238E27FC236}">
                <a16:creationId xmlns:a16="http://schemas.microsoft.com/office/drawing/2014/main" id="{E63B3402-2D99-E1AB-4166-4FABBB66EB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2594" y="5124312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FA53167-3F45-F171-49FF-6E1670FFA75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26542" y="3972644"/>
            <a:ext cx="2333256" cy="1790957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50000"/>
              </a:lnSpc>
              <a:buNone/>
              <a:defRPr sz="800" b="0" i="0">
                <a:solidFill>
                  <a:schemeClr val="accent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76388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77">
          <p15:clr>
            <a:srgbClr val="FBAE40"/>
          </p15:clr>
        </p15:guide>
        <p15:guide id="15" pos="588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punten - 4Bloc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756BBC8F-DB97-B47B-553D-AC60DE9DE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2379983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7E58A947-B3B9-07FF-6E8F-8BB8AAC04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23799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6549856-4B9A-5CCF-1D93-BAFDD4FBD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2366192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0781C1AB-A1A9-77C5-2CB4-9F3A23BB6286}"/>
              </a:ext>
            </a:extLst>
          </p:cNvPr>
          <p:cNvSpPr/>
          <p:nvPr userDrawn="1"/>
        </p:nvSpPr>
        <p:spPr>
          <a:xfrm>
            <a:off x="9344882" y="943995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2" name="Text Placeholder 36">
            <a:extLst>
              <a:ext uri="{FF2B5EF4-FFF2-40B4-BE49-F238E27FC236}">
                <a16:creationId xmlns:a16="http://schemas.microsoft.com/office/drawing/2014/main" id="{AD5D0340-1B79-FE41-F2B2-27B66750AA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07236" y="1691043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tx2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€0,00</a:t>
            </a:r>
            <a:endParaRPr lang="en-NL"/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29C93CEE-16AE-2C03-540E-2877696C4B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11144" y="2378732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5D940A57-7DF4-1140-74BF-798066438903}"/>
              </a:ext>
            </a:extLst>
          </p:cNvPr>
          <p:cNvSpPr/>
          <p:nvPr userDrawn="1"/>
        </p:nvSpPr>
        <p:spPr>
          <a:xfrm>
            <a:off x="6421565" y="943996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715A5230-0DF7-D8D8-781A-5E5C54FDBC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3919" y="1691044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3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+0%</a:t>
            </a:r>
            <a:endParaRPr lang="en-NL"/>
          </a:p>
        </p:txBody>
      </p:sp>
      <p:sp>
        <p:nvSpPr>
          <p:cNvPr id="32" name="Text Placeholder 36">
            <a:extLst>
              <a:ext uri="{FF2B5EF4-FFF2-40B4-BE49-F238E27FC236}">
                <a16:creationId xmlns:a16="http://schemas.microsoft.com/office/drawing/2014/main" id="{B81F542E-7308-C9FA-2EB4-7D42CA5623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7827" y="2378733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3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1C47EF13-7789-3E03-ADEB-F33CD2CAA314}"/>
              </a:ext>
            </a:extLst>
          </p:cNvPr>
          <p:cNvSpPr/>
          <p:nvPr userDrawn="1"/>
        </p:nvSpPr>
        <p:spPr>
          <a:xfrm>
            <a:off x="9344882" y="3694126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4" name="Text Placeholder 36">
            <a:extLst>
              <a:ext uri="{FF2B5EF4-FFF2-40B4-BE49-F238E27FC236}">
                <a16:creationId xmlns:a16="http://schemas.microsoft.com/office/drawing/2014/main" id="{D8A40756-B565-6254-5F12-7FB28BB1BE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07236" y="4441174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5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-0%</a:t>
            </a:r>
            <a:endParaRPr lang="en-NL"/>
          </a:p>
        </p:txBody>
      </p:sp>
      <p:sp>
        <p:nvSpPr>
          <p:cNvPr id="35" name="Text Placeholder 36">
            <a:extLst>
              <a:ext uri="{FF2B5EF4-FFF2-40B4-BE49-F238E27FC236}">
                <a16:creationId xmlns:a16="http://schemas.microsoft.com/office/drawing/2014/main" id="{98D49377-C9A6-1DD4-2FEB-93B8A5135D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11144" y="5128863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5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FA63DEEA-4CD1-7B0A-750F-CAD4F23CD13A}"/>
              </a:ext>
            </a:extLst>
          </p:cNvPr>
          <p:cNvSpPr/>
          <p:nvPr userDrawn="1"/>
        </p:nvSpPr>
        <p:spPr>
          <a:xfrm>
            <a:off x="6428492" y="3694127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2CDF096E-33B3-DBB5-D6DD-8F7AF59979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90846" y="4441175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C3B150E1-9A36-19D4-5913-998D23AB731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94754" y="5128864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62972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77">
          <p15:clr>
            <a:srgbClr val="FBAE40"/>
          </p15:clr>
        </p15:guide>
        <p15:guide id="15" pos="588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punten - 6Bloc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756BBC8F-DB97-B47B-553D-AC60DE9DE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2379983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7E58A947-B3B9-07FF-6E8F-8BB8AAC04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23799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6549856-4B9A-5CCF-1D93-BAFDD4FBD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2366192" cy="424633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</a:t>
            </a:r>
            <a:endParaRPr lang="en-NL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0781C1AB-A1A9-77C5-2CB4-9F3A23BB6286}"/>
              </a:ext>
            </a:extLst>
          </p:cNvPr>
          <p:cNvSpPr/>
          <p:nvPr userDrawn="1"/>
        </p:nvSpPr>
        <p:spPr>
          <a:xfrm>
            <a:off x="6421568" y="943995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2" name="Text Placeholder 36">
            <a:extLst>
              <a:ext uri="{FF2B5EF4-FFF2-40B4-BE49-F238E27FC236}">
                <a16:creationId xmlns:a16="http://schemas.microsoft.com/office/drawing/2014/main" id="{AD5D0340-1B79-FE41-F2B2-27B66750AA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3922" y="1691043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tx2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€0,00</a:t>
            </a:r>
            <a:endParaRPr lang="en-NL"/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29C93CEE-16AE-2C03-540E-2877696C4B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87830" y="2378732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5D940A57-7DF4-1140-74BF-798066438903}"/>
              </a:ext>
            </a:extLst>
          </p:cNvPr>
          <p:cNvSpPr/>
          <p:nvPr userDrawn="1"/>
        </p:nvSpPr>
        <p:spPr>
          <a:xfrm>
            <a:off x="3539813" y="943996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715A5230-0DF7-D8D8-781A-5E5C54FDBC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2167" y="1691044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3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+0%</a:t>
            </a:r>
            <a:endParaRPr lang="en-NL"/>
          </a:p>
        </p:txBody>
      </p:sp>
      <p:sp>
        <p:nvSpPr>
          <p:cNvPr id="32" name="Text Placeholder 36">
            <a:extLst>
              <a:ext uri="{FF2B5EF4-FFF2-40B4-BE49-F238E27FC236}">
                <a16:creationId xmlns:a16="http://schemas.microsoft.com/office/drawing/2014/main" id="{B81F542E-7308-C9FA-2EB4-7D42CA5623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06075" y="2378733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3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1C47EF13-7789-3E03-ADEB-F33CD2CAA314}"/>
              </a:ext>
            </a:extLst>
          </p:cNvPr>
          <p:cNvSpPr/>
          <p:nvPr userDrawn="1"/>
        </p:nvSpPr>
        <p:spPr>
          <a:xfrm>
            <a:off x="6428495" y="3694126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4" name="Text Placeholder 36">
            <a:extLst>
              <a:ext uri="{FF2B5EF4-FFF2-40B4-BE49-F238E27FC236}">
                <a16:creationId xmlns:a16="http://schemas.microsoft.com/office/drawing/2014/main" id="{D8A40756-B565-6254-5F12-7FB28BB1BE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0849" y="4441174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5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-0%</a:t>
            </a:r>
            <a:endParaRPr lang="en-NL"/>
          </a:p>
        </p:txBody>
      </p:sp>
      <p:sp>
        <p:nvSpPr>
          <p:cNvPr id="35" name="Text Placeholder 36">
            <a:extLst>
              <a:ext uri="{FF2B5EF4-FFF2-40B4-BE49-F238E27FC236}">
                <a16:creationId xmlns:a16="http://schemas.microsoft.com/office/drawing/2014/main" id="{98D49377-C9A6-1DD4-2FEB-93B8A5135D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94757" y="5128863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5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FA63DEEA-4CD1-7B0A-750F-CAD4F23CD13A}"/>
              </a:ext>
            </a:extLst>
          </p:cNvPr>
          <p:cNvSpPr/>
          <p:nvPr userDrawn="1"/>
        </p:nvSpPr>
        <p:spPr>
          <a:xfrm>
            <a:off x="3546740" y="3694127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2CDF096E-33B3-DBB5-D6DD-8F7AF59979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09094" y="4441175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C3B150E1-9A36-19D4-5913-998D23AB731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3002" y="5128864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121817E4-AD34-31CF-4ABB-6A5AAED1109E}"/>
              </a:ext>
            </a:extLst>
          </p:cNvPr>
          <p:cNvSpPr/>
          <p:nvPr userDrawn="1"/>
        </p:nvSpPr>
        <p:spPr>
          <a:xfrm>
            <a:off x="9337941" y="937069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011E3A5C-D5E8-9BCE-D501-1528934F57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0295" y="1684117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3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+0%</a:t>
            </a:r>
            <a:endParaRPr lang="en-NL"/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1DD52766-079B-FC80-E2ED-2D922D5452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04203" y="2371806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3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1691D06-3F95-E0B7-A510-524F28EEF949}"/>
              </a:ext>
            </a:extLst>
          </p:cNvPr>
          <p:cNvSpPr/>
          <p:nvPr userDrawn="1"/>
        </p:nvSpPr>
        <p:spPr>
          <a:xfrm>
            <a:off x="9344868" y="3687200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6" name="Text Placeholder 36">
            <a:extLst>
              <a:ext uri="{FF2B5EF4-FFF2-40B4-BE49-F238E27FC236}">
                <a16:creationId xmlns:a16="http://schemas.microsoft.com/office/drawing/2014/main" id="{23D5CF3D-FB14-FD9C-C829-EF9C514D07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7222" y="4434248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AD15071A-385E-DE94-2CAA-47892C53127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511130" y="5121937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17496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77">
          <p15:clr>
            <a:srgbClr val="FBAE40"/>
          </p15:clr>
        </p15:guide>
        <p15:guide id="15" pos="588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punten - Afbeel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ACEF86BD-45D6-F321-7225-3B8BF9B06D0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9813" y="944563"/>
            <a:ext cx="5472114" cy="49688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659DB4A-DFCB-B231-8F9B-95F78F26DFC6}"/>
              </a:ext>
            </a:extLst>
          </p:cNvPr>
          <p:cNvSpPr/>
          <p:nvPr userDrawn="1"/>
        </p:nvSpPr>
        <p:spPr>
          <a:xfrm>
            <a:off x="6419850" y="944563"/>
            <a:ext cx="2230301" cy="2230301"/>
          </a:xfrm>
          <a:prstGeom prst="roundRect">
            <a:avLst>
              <a:gd name="adj" fmla="val 27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8FA2055C-E0ED-9B42-DC17-6353805595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2204" y="1691611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3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+0%</a:t>
            </a:r>
            <a:endParaRPr lang="en-NL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697B0301-2557-AF7E-4BA7-7C8DBCE2A1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6112" y="2379300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3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C5F10587-A5B3-0472-600A-99ACD7BE9F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27896" y="3524045"/>
            <a:ext cx="5240217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7EB1FE2E-25F3-CE48-2189-0B2E606FED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16609" y="3767413"/>
            <a:ext cx="52515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72E26A76-CCC2-9929-CA4A-5DCF874014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0399" y="4243329"/>
            <a:ext cx="5251504" cy="1759559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vel.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6569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54">
          <p15:clr>
            <a:srgbClr val="FBAE40"/>
          </p15:clr>
        </p15:guide>
        <p15:guide id="15" pos="5858">
          <p15:clr>
            <a:srgbClr val="FBAE40"/>
          </p15:clr>
        </p15:guide>
        <p15:guide id="16" orient="horz" pos="1956">
          <p15:clr>
            <a:srgbClr val="FBAE40"/>
          </p15:clr>
        </p15:guide>
        <p15:guide id="17" orient="horz" pos="2160">
          <p15:clr>
            <a:srgbClr val="FBAE40"/>
          </p15:clr>
        </p15:guide>
        <p15:guide id="18" orient="horz" pos="236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 - Gro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">
            <a:extLst>
              <a:ext uri="{FF2B5EF4-FFF2-40B4-BE49-F238E27FC236}">
                <a16:creationId xmlns:a16="http://schemas.microsoft.com/office/drawing/2014/main" id="{F02C95B8-05D0-7898-EDE6-7E2ADF86821E}"/>
              </a:ext>
            </a:extLst>
          </p:cNvPr>
          <p:cNvSpPr/>
          <p:nvPr userDrawn="1"/>
        </p:nvSpPr>
        <p:spPr>
          <a:xfrm rot="10800000" flipH="1">
            <a:off x="140960" y="143217"/>
            <a:ext cx="11924040" cy="65962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263" y="0"/>
                </a:moveTo>
                <a:cubicBezTo>
                  <a:pt x="225" y="0"/>
                  <a:pt x="194" y="0"/>
                  <a:pt x="169" y="3"/>
                </a:cubicBezTo>
                <a:cubicBezTo>
                  <a:pt x="143" y="6"/>
                  <a:pt x="124" y="12"/>
                  <a:pt x="109" y="24"/>
                </a:cubicBezTo>
                <a:cubicBezTo>
                  <a:pt x="87" y="38"/>
                  <a:pt x="67" y="62"/>
                  <a:pt x="50" y="91"/>
                </a:cubicBezTo>
                <a:cubicBezTo>
                  <a:pt x="34" y="121"/>
                  <a:pt x="21" y="157"/>
                  <a:pt x="13" y="197"/>
                </a:cubicBezTo>
                <a:cubicBezTo>
                  <a:pt x="7" y="225"/>
                  <a:pt x="3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3" y="21340"/>
                  <a:pt x="7" y="21375"/>
                  <a:pt x="13" y="21403"/>
                </a:cubicBezTo>
                <a:cubicBezTo>
                  <a:pt x="21" y="21443"/>
                  <a:pt x="34" y="21479"/>
                  <a:pt x="50" y="21509"/>
                </a:cubicBezTo>
                <a:cubicBezTo>
                  <a:pt x="67" y="21538"/>
                  <a:pt x="87" y="21562"/>
                  <a:pt x="109" y="21576"/>
                </a:cubicBezTo>
                <a:cubicBezTo>
                  <a:pt x="124" y="21588"/>
                  <a:pt x="143" y="21595"/>
                  <a:pt x="169" y="21597"/>
                </a:cubicBezTo>
                <a:cubicBezTo>
                  <a:pt x="169" y="21597"/>
                  <a:pt x="169" y="21597"/>
                  <a:pt x="169" y="21597"/>
                </a:cubicBezTo>
                <a:cubicBezTo>
                  <a:pt x="194" y="21599"/>
                  <a:pt x="225" y="21600"/>
                  <a:pt x="263" y="21600"/>
                </a:cubicBezTo>
                <a:cubicBezTo>
                  <a:pt x="263" y="21600"/>
                  <a:pt x="264" y="21600"/>
                  <a:pt x="264" y="21600"/>
                </a:cubicBezTo>
                <a:lnTo>
                  <a:pt x="7428" y="21600"/>
                </a:lnTo>
                <a:lnTo>
                  <a:pt x="8769" y="21600"/>
                </a:lnTo>
                <a:cubicBezTo>
                  <a:pt x="8808" y="21600"/>
                  <a:pt x="8839" y="21600"/>
                  <a:pt x="8864" y="21597"/>
                </a:cubicBezTo>
                <a:cubicBezTo>
                  <a:pt x="8876" y="21596"/>
                  <a:pt x="8883" y="21590"/>
                  <a:pt x="8892" y="21587"/>
                </a:cubicBezTo>
                <a:lnTo>
                  <a:pt x="8893" y="21593"/>
                </a:lnTo>
                <a:cubicBezTo>
                  <a:pt x="9861" y="21210"/>
                  <a:pt x="10772" y="20552"/>
                  <a:pt x="11600" y="19665"/>
                </a:cubicBezTo>
                <a:cubicBezTo>
                  <a:pt x="12427" y="18778"/>
                  <a:pt x="13170" y="17661"/>
                  <a:pt x="13803" y="16360"/>
                </a:cubicBezTo>
                <a:lnTo>
                  <a:pt x="11968" y="6"/>
                </a:lnTo>
                <a:lnTo>
                  <a:pt x="8866" y="2"/>
                </a:lnTo>
                <a:lnTo>
                  <a:pt x="8866" y="4"/>
                </a:lnTo>
                <a:cubicBezTo>
                  <a:pt x="8865" y="3"/>
                  <a:pt x="8864" y="3"/>
                  <a:pt x="8864" y="3"/>
                </a:cubicBezTo>
                <a:cubicBezTo>
                  <a:pt x="8839" y="0"/>
                  <a:pt x="8808" y="0"/>
                  <a:pt x="8769" y="0"/>
                </a:cubicBezTo>
                <a:lnTo>
                  <a:pt x="4900" y="0"/>
                </a:lnTo>
                <a:lnTo>
                  <a:pt x="263" y="0"/>
                </a:lnTo>
                <a:close/>
                <a:moveTo>
                  <a:pt x="13803" y="16360"/>
                </a:moveTo>
                <a:lnTo>
                  <a:pt x="14391" y="21600"/>
                </a:lnTo>
                <a:lnTo>
                  <a:pt x="21336" y="21600"/>
                </a:lnTo>
                <a:cubicBezTo>
                  <a:pt x="21375" y="21600"/>
                  <a:pt x="21406" y="21600"/>
                  <a:pt x="21431" y="21597"/>
                </a:cubicBezTo>
                <a:cubicBezTo>
                  <a:pt x="21456" y="21594"/>
                  <a:pt x="21476" y="21588"/>
                  <a:pt x="21491" y="21576"/>
                </a:cubicBezTo>
                <a:cubicBezTo>
                  <a:pt x="21513" y="21562"/>
                  <a:pt x="21533" y="21538"/>
                  <a:pt x="21550" y="21509"/>
                </a:cubicBezTo>
                <a:cubicBezTo>
                  <a:pt x="21566" y="21479"/>
                  <a:pt x="21579" y="21443"/>
                  <a:pt x="21587" y="21403"/>
                </a:cubicBezTo>
                <a:cubicBezTo>
                  <a:pt x="21593" y="21375"/>
                  <a:pt x="21597" y="21340"/>
                  <a:pt x="21598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8" y="305"/>
                </a:cubicBezTo>
                <a:cubicBezTo>
                  <a:pt x="21597" y="260"/>
                  <a:pt x="21593" y="225"/>
                  <a:pt x="21587" y="197"/>
                </a:cubicBezTo>
                <a:cubicBezTo>
                  <a:pt x="21579" y="157"/>
                  <a:pt x="21566" y="121"/>
                  <a:pt x="21550" y="91"/>
                </a:cubicBezTo>
                <a:cubicBezTo>
                  <a:pt x="21533" y="62"/>
                  <a:pt x="21513" y="38"/>
                  <a:pt x="21491" y="24"/>
                </a:cubicBezTo>
                <a:cubicBezTo>
                  <a:pt x="21476" y="12"/>
                  <a:pt x="21456" y="6"/>
                  <a:pt x="21431" y="3"/>
                </a:cubicBezTo>
                <a:cubicBezTo>
                  <a:pt x="21406" y="0"/>
                  <a:pt x="21375" y="0"/>
                  <a:pt x="21336" y="0"/>
                </a:cubicBezTo>
                <a:lnTo>
                  <a:pt x="15505" y="0"/>
                </a:lnTo>
                <a:cubicBezTo>
                  <a:pt x="16187" y="3303"/>
                  <a:pt x="16247" y="6921"/>
                  <a:pt x="15676" y="10292"/>
                </a:cubicBezTo>
                <a:cubicBezTo>
                  <a:pt x="15291" y="12571"/>
                  <a:pt x="14645" y="14629"/>
                  <a:pt x="13803" y="16360"/>
                </a:cubicBezTo>
                <a:close/>
              </a:path>
            </a:pathLst>
          </a:custGeom>
          <a:solidFill>
            <a:srgbClr val="E2F8A1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F68F4AAD-6A76-04A3-D3BA-C55A8AEBBA52}"/>
              </a:ext>
            </a:extLst>
          </p:cNvPr>
          <p:cNvSpPr/>
          <p:nvPr userDrawn="1"/>
        </p:nvSpPr>
        <p:spPr>
          <a:xfrm rot="10800000" flipH="1">
            <a:off x="7733654" y="151784"/>
            <a:ext cx="4330725" cy="65791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0" y="16375"/>
                </a:moveTo>
                <a:lnTo>
                  <a:pt x="17" y="16360"/>
                </a:lnTo>
                <a:lnTo>
                  <a:pt x="0" y="16375"/>
                </a:lnTo>
                <a:close/>
                <a:moveTo>
                  <a:pt x="17" y="16360"/>
                </a:moveTo>
                <a:lnTo>
                  <a:pt x="1637" y="21600"/>
                </a:lnTo>
                <a:lnTo>
                  <a:pt x="20873" y="21600"/>
                </a:lnTo>
                <a:cubicBezTo>
                  <a:pt x="20980" y="21600"/>
                  <a:pt x="21065" y="21600"/>
                  <a:pt x="21134" y="21597"/>
                </a:cubicBezTo>
                <a:cubicBezTo>
                  <a:pt x="21204" y="21594"/>
                  <a:pt x="21257" y="21588"/>
                  <a:pt x="21300" y="21576"/>
                </a:cubicBezTo>
                <a:cubicBezTo>
                  <a:pt x="21361" y="21562"/>
                  <a:pt x="21416" y="21538"/>
                  <a:pt x="21461" y="21509"/>
                </a:cubicBezTo>
                <a:cubicBezTo>
                  <a:pt x="21506" y="21479"/>
                  <a:pt x="21542" y="21443"/>
                  <a:pt x="21564" y="21403"/>
                </a:cubicBezTo>
                <a:cubicBezTo>
                  <a:pt x="21582" y="21375"/>
                  <a:pt x="21591" y="21340"/>
                  <a:pt x="21596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6" y="305"/>
                </a:cubicBezTo>
                <a:cubicBezTo>
                  <a:pt x="21591" y="260"/>
                  <a:pt x="21582" y="225"/>
                  <a:pt x="21564" y="197"/>
                </a:cubicBezTo>
                <a:cubicBezTo>
                  <a:pt x="21542" y="157"/>
                  <a:pt x="21506" y="121"/>
                  <a:pt x="21461" y="91"/>
                </a:cubicBezTo>
                <a:cubicBezTo>
                  <a:pt x="21416" y="62"/>
                  <a:pt x="21361" y="38"/>
                  <a:pt x="21300" y="24"/>
                </a:cubicBezTo>
                <a:cubicBezTo>
                  <a:pt x="21257" y="12"/>
                  <a:pt x="21204" y="6"/>
                  <a:pt x="21134" y="3"/>
                </a:cubicBezTo>
                <a:cubicBezTo>
                  <a:pt x="21065" y="0"/>
                  <a:pt x="20980" y="0"/>
                  <a:pt x="20873" y="0"/>
                </a:cubicBezTo>
                <a:lnTo>
                  <a:pt x="4708" y="0"/>
                </a:lnTo>
                <a:cubicBezTo>
                  <a:pt x="6586" y="3303"/>
                  <a:pt x="6752" y="6921"/>
                  <a:pt x="5180" y="10292"/>
                </a:cubicBezTo>
                <a:cubicBezTo>
                  <a:pt x="4117" y="12571"/>
                  <a:pt x="2337" y="14629"/>
                  <a:pt x="17" y="16360"/>
                </a:cubicBezTo>
                <a:close/>
              </a:path>
            </a:pathLst>
          </a:custGeom>
          <a:solidFill>
            <a:schemeClr val="accent3"/>
          </a:solidFill>
          <a:ln w="38100">
            <a:solidFill>
              <a:schemeClr val="accent4"/>
            </a:solidFill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8D25D35-F803-FE5F-5B21-5DD45C943C10}"/>
              </a:ext>
            </a:extLst>
          </p:cNvPr>
          <p:cNvSpPr>
            <a:spLocks noChangeAspect="1"/>
          </p:cNvSpPr>
          <p:nvPr userDrawn="1"/>
        </p:nvSpPr>
        <p:spPr>
          <a:xfrm>
            <a:off x="8637736" y="6671358"/>
            <a:ext cx="90000" cy="9000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3CBAE53-D10D-90F7-4B8D-AC14989D21E3}"/>
              </a:ext>
            </a:extLst>
          </p:cNvPr>
          <p:cNvSpPr txBox="1"/>
          <p:nvPr userDrawn="1"/>
        </p:nvSpPr>
        <p:spPr>
          <a:xfrm rot="16868678">
            <a:off x="7410406" y="751572"/>
            <a:ext cx="13640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GB" sz="2400" err="1">
                <a:solidFill>
                  <a:schemeClr val="accent4"/>
                </a:solidFill>
                <a:latin typeface="Caveat" pitchFamily="2" charset="0"/>
                <a:cs typeface="Archivo" pitchFamily="2" charset="77"/>
              </a:rPr>
              <a:t>waaronder</a:t>
            </a:r>
            <a:r>
              <a:rPr lang="en-GB" sz="2400">
                <a:solidFill>
                  <a:schemeClr val="accent4"/>
                </a:solidFill>
                <a:latin typeface="Caveat" pitchFamily="2" charset="0"/>
                <a:cs typeface="Archivo" pitchFamily="2" charset="77"/>
              </a:rPr>
              <a:t>:</a:t>
            </a:r>
            <a:endParaRPr lang="en-NL" sz="2400">
              <a:solidFill>
                <a:schemeClr val="accent4"/>
              </a:solidFill>
              <a:latin typeface="Caveat" pitchFamily="2" charset="0"/>
              <a:cs typeface="Archivo" pitchFamily="2" charset="77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accent3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0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3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3DA0C48-0FD8-CBF1-46DD-1DBA9C39FE7E}"/>
              </a:ext>
            </a:extLst>
          </p:cNvPr>
          <p:cNvSpPr>
            <a:spLocks noChangeAspect="1"/>
          </p:cNvSpPr>
          <p:nvPr userDrawn="1"/>
        </p:nvSpPr>
        <p:spPr>
          <a:xfrm>
            <a:off x="4974117" y="96642"/>
            <a:ext cx="90000" cy="9000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CC30FEDB-B3C6-1215-6398-EE23350934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6251" y="4709821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6</a:t>
            </a:r>
            <a:endParaRPr lang="en-NL"/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74825199-6C65-4342-7219-A01D48FD5A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59311" y="5109215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8C370512-13C9-A482-FC10-B15879875C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08942" y="518726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1</a:t>
            </a:r>
            <a:endParaRPr lang="en-NL"/>
          </a:p>
        </p:txBody>
      </p:sp>
      <p:sp>
        <p:nvSpPr>
          <p:cNvPr id="6" name="Text Placeholder 36">
            <a:extLst>
              <a:ext uri="{FF2B5EF4-FFF2-40B4-BE49-F238E27FC236}">
                <a16:creationId xmlns:a16="http://schemas.microsoft.com/office/drawing/2014/main" id="{65A0EEE6-6550-464D-8C9B-250745F961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72002" y="918120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66E71C38-C3FE-8DD2-7599-BB32AAD0F5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05228" y="1358040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2</a:t>
            </a:r>
            <a:endParaRPr lang="en-NL"/>
          </a:p>
        </p:txBody>
      </p:sp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85A62710-FCC0-59C6-92DC-6FFAAE2372B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68288" y="1757434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DA5A715C-92C3-0D91-C039-EB3E8B0C46A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2664" y="2199359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3</a:t>
            </a:r>
            <a:endParaRPr lang="en-NL"/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4ABB4EF7-ADCE-C5CE-0317-5383D7C6C2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75724" y="2598753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61DE54FE-E490-0020-8000-AAB47B8F45A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1514" y="3044398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4</a:t>
            </a:r>
            <a:endParaRPr lang="en-NL"/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DF8FF2D4-A28B-67AA-4F5A-5DFDB0EFB7A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64574" y="3443792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0" name="Text Placeholder 36">
            <a:extLst>
              <a:ext uri="{FF2B5EF4-FFF2-40B4-BE49-F238E27FC236}">
                <a16:creationId xmlns:a16="http://schemas.microsoft.com/office/drawing/2014/main" id="{F806C821-8F47-F5DC-1C9B-5054CEB665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8950" y="3885717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5</a:t>
            </a:r>
            <a:endParaRPr lang="en-NL"/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2A87EB76-AF17-15BF-0401-0C11BE9413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72010" y="4285111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4" name="Text Placeholder 36">
            <a:extLst>
              <a:ext uri="{FF2B5EF4-FFF2-40B4-BE49-F238E27FC236}">
                <a16:creationId xmlns:a16="http://schemas.microsoft.com/office/drawing/2014/main" id="{E2E6C020-A272-794A-6F0C-0DF6A7C8AA1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2347" y="5557165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4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7</a:t>
            </a:r>
            <a:endParaRPr lang="en-NL"/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D24B0F3F-12DD-8CC6-D347-D7EA1D73D64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65407" y="5956559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288387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636" userDrawn="1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Kader, kle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2" y="848432"/>
            <a:ext cx="3340244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335153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56BEB84-B569-8FDF-945F-04BDBF421F45}"/>
              </a:ext>
            </a:extLst>
          </p:cNvPr>
          <p:cNvSpPr/>
          <p:nvPr userDrawn="1"/>
        </p:nvSpPr>
        <p:spPr>
          <a:xfrm>
            <a:off x="4511676" y="630620"/>
            <a:ext cx="7056436" cy="5606667"/>
          </a:xfrm>
          <a:prstGeom prst="roundRect">
            <a:avLst>
              <a:gd name="adj" fmla="val 1540"/>
            </a:avLst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453BC55-08EB-6176-608E-D9058BE46F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6234" y="1667106"/>
            <a:ext cx="3351532" cy="306221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1000" b="0" i="0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 Sed vitae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,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Morbi vitae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. Aenean </a:t>
            </a:r>
            <a:r>
              <a:rPr lang="en-GB" err="1"/>
              <a:t>hendrerit</a:t>
            </a:r>
            <a:r>
              <a:rPr lang="en-GB"/>
              <a:t> libero </a:t>
            </a:r>
            <a:r>
              <a:rPr lang="en-GB" err="1"/>
              <a:t>vel</a:t>
            </a:r>
            <a:r>
              <a:rPr lang="en-GB"/>
              <a:t> fermentum </a:t>
            </a:r>
            <a:r>
              <a:rPr lang="en-GB" err="1"/>
              <a:t>ullamcorper</a:t>
            </a:r>
            <a:r>
              <a:rPr lang="en-GB"/>
              <a:t>. Proin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. Integer porta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, a </a:t>
            </a:r>
            <a:r>
              <a:rPr lang="en-GB" err="1"/>
              <a:t>iaculis</a:t>
            </a:r>
            <a:r>
              <a:rPr lang="en-GB"/>
              <a:t> magna </a:t>
            </a:r>
            <a:r>
              <a:rPr lang="en-GB" err="1"/>
              <a:t>iaculis</a:t>
            </a:r>
            <a:r>
              <a:rPr lang="en-GB"/>
              <a:t>.</a:t>
            </a:r>
            <a:endParaRPr lang="en-NL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275B98C-6663-847C-4C25-83B045EB7E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597" y="5001569"/>
            <a:ext cx="1580400" cy="679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00">
                <a:latin typeface="Caveat" pitchFamily="2" charset="0"/>
              </a:defRPr>
            </a:lvl1pPr>
          </a:lstStyle>
          <a:p>
            <a:pPr lvl="0"/>
            <a:r>
              <a:rPr lang="en-NL"/>
              <a:t>+0%</a:t>
            </a:r>
          </a:p>
        </p:txBody>
      </p:sp>
      <p:sp>
        <p:nvSpPr>
          <p:cNvPr id="28" name="Text Placeholder 36">
            <a:extLst>
              <a:ext uri="{FF2B5EF4-FFF2-40B4-BE49-F238E27FC236}">
                <a16:creationId xmlns:a16="http://schemas.microsoft.com/office/drawing/2014/main" id="{F78169F3-1D6B-4EFC-74C3-A6FBABF999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006" y="5574543"/>
            <a:ext cx="1570126" cy="4247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endParaRPr lang="en-GB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7378E3E-C9AE-2C74-7259-21F98C92D6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40978" y="4993712"/>
            <a:ext cx="1580400" cy="679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00">
                <a:latin typeface="Caveat" pitchFamily="2" charset="0"/>
              </a:defRPr>
            </a:lvl1pPr>
          </a:lstStyle>
          <a:p>
            <a:pPr lvl="0"/>
            <a:r>
              <a:rPr lang="en-NL"/>
              <a:t>+0%</a:t>
            </a:r>
          </a:p>
        </p:txBody>
      </p:sp>
      <p:sp>
        <p:nvSpPr>
          <p:cNvPr id="30" name="Text Placeholder 36">
            <a:extLst>
              <a:ext uri="{FF2B5EF4-FFF2-40B4-BE49-F238E27FC236}">
                <a16:creationId xmlns:a16="http://schemas.microsoft.com/office/drawing/2014/main" id="{C78BCD99-9118-DFB7-3CF9-409B68EA87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98387" y="5566686"/>
            <a:ext cx="1570126" cy="4247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1071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>
          <p15:clr>
            <a:srgbClr val="FBAE40"/>
          </p15:clr>
        </p15:guide>
        <p15:guide id="15" orient="horz" pos="1956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Kader, gro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DD368997-E759-541F-710F-65259D4BF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2" y="848432"/>
            <a:ext cx="3340244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A8F1F64F-CC48-8173-08D2-56663BE1D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335153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56BEB84-B569-8FDF-945F-04BDBF421F45}"/>
              </a:ext>
            </a:extLst>
          </p:cNvPr>
          <p:cNvSpPr/>
          <p:nvPr userDrawn="1"/>
        </p:nvSpPr>
        <p:spPr>
          <a:xfrm>
            <a:off x="623888" y="1981500"/>
            <a:ext cx="10944224" cy="4255788"/>
          </a:xfrm>
          <a:prstGeom prst="roundRect">
            <a:avLst>
              <a:gd name="adj" fmla="val 1540"/>
            </a:avLst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F03D6A50-AA48-81A0-8F03-E4171DB90B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87720" y="655813"/>
            <a:ext cx="1580400" cy="679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00">
                <a:latin typeface="Caveat" pitchFamily="2" charset="0"/>
              </a:defRPr>
            </a:lvl1pPr>
          </a:lstStyle>
          <a:p>
            <a:pPr lvl="0"/>
            <a:r>
              <a:rPr lang="en-NL"/>
              <a:t>+0%</a:t>
            </a:r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0E0A186C-9090-ABF8-76F1-77F0EAF29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45129" y="1228787"/>
            <a:ext cx="1570126" cy="4247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endParaRPr lang="en-GB"/>
          </a:p>
        </p:txBody>
      </p:sp>
      <p:sp>
        <p:nvSpPr>
          <p:cNvPr id="22" name="Text Placeholder 26">
            <a:extLst>
              <a:ext uri="{FF2B5EF4-FFF2-40B4-BE49-F238E27FC236}">
                <a16:creationId xmlns:a16="http://schemas.microsoft.com/office/drawing/2014/main" id="{199AF745-B534-689D-5DAF-E1D26663A3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52101" y="647956"/>
            <a:ext cx="1580400" cy="679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00">
                <a:latin typeface="Caveat" pitchFamily="2" charset="0"/>
              </a:defRPr>
            </a:lvl1pPr>
          </a:lstStyle>
          <a:p>
            <a:pPr lvl="0"/>
            <a:r>
              <a:rPr lang="en-NL"/>
              <a:t>+0%</a:t>
            </a:r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BD1CEBE1-A81E-652D-8AA0-892B2FBE23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09510" y="1220930"/>
            <a:ext cx="1570126" cy="4247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189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>
          <p15:clr>
            <a:srgbClr val="FBAE40"/>
          </p15:clr>
        </p15:guide>
        <p15:guide id="15" orient="horz" pos="1956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d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16_9_AV02-Hoofdkleur.svg" descr="16_9_AV02-Hoofdkleur.svg">
            <a:extLst>
              <a:ext uri="{FF2B5EF4-FFF2-40B4-BE49-F238E27FC236}">
                <a16:creationId xmlns:a16="http://schemas.microsoft.com/office/drawing/2014/main" id="{EE24E613-B5DC-3A5E-F278-8EC7A358DD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58" y="117000"/>
            <a:ext cx="11971084" cy="6624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A2909AE0-F190-6A50-0B33-3EE5BB4CF0F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3888" y="3195198"/>
            <a:ext cx="3389343" cy="750410"/>
          </a:xfrm>
          <a:prstGeom prst="rect">
            <a:avLst/>
          </a:prstGeom>
        </p:spPr>
      </p:pic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FF5CD5E3-865B-78EF-A26C-3C272CF4B3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827" y="6081353"/>
            <a:ext cx="5248419" cy="2308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>
                <a:solidFill>
                  <a:schemeClr val="bg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© Esprit ICT - 2024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84387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E334663A-6B23-FBD4-5B91-8EF7595B97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F23A6-AA3E-4F66-8643-9A4AEF65871C}" type="datetimeFigureOut">
              <a:rPr lang="nl-NL" smtClean="0"/>
              <a:t>14-10-2024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4A1F1C59-803D-71B5-11EF-A3F97CA1A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E1CEB03D-EE07-958B-460F-DA50118C3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053BBE-D28D-46ED-8889-A938DD4B8C1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8578716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0BA50C-2C74-836D-E614-8C11914E8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20DFCB2-1414-A04E-D6EA-7303093691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0DE02B5-5EB0-D56A-C604-0969FDEF9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F23A6-AA3E-4F66-8643-9A4AEF65871C}" type="datetimeFigureOut">
              <a:rPr lang="nl-NL" smtClean="0"/>
              <a:t>14-10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12D109B-995D-4740-3412-057EEA9C7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0BC0EA8-88A8-8051-2506-CBA05B4F5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053BBE-D28D-46ED-8889-A938DD4B8C1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6714547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jdelijke aanduiding voor inhoud 2"/>
          <p:cNvSpPr>
            <a:spLocks noGrp="1"/>
          </p:cNvSpPr>
          <p:nvPr>
            <p:ph sz="half" idx="11"/>
          </p:nvPr>
        </p:nvSpPr>
        <p:spPr>
          <a:xfrm>
            <a:off x="1718310" y="238069"/>
            <a:ext cx="8064500" cy="372864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lang="en-US" sz="2400" b="0" i="0" kern="1200" baseline="0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0" lvl="0" indent="0" algn="ctr" defTabSz="121917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</a:pPr>
            <a:r>
              <a:rPr lang="en-US" err="1"/>
              <a:t>Klik</a:t>
            </a:r>
            <a:r>
              <a:rPr lang="en-US"/>
              <a:t> om de </a:t>
            </a:r>
            <a:r>
              <a:rPr lang="en-US" err="1"/>
              <a:t>tekststijl</a:t>
            </a:r>
            <a:r>
              <a:rPr lang="en-US"/>
              <a:t> van het model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4354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fbeelding - 3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E8F3C941-9209-56F6-EF53-C65BFE2112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2" y="848432"/>
            <a:ext cx="3351532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C0F860A4-DDE0-0793-0535-E58ABD3921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3" y="1091800"/>
            <a:ext cx="33515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558495DF-B741-E148-1051-5D55C98DD88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39439" y="620712"/>
            <a:ext cx="1983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B10AA0EE-C57C-E242-7E44-FD4B298F52B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358325" y="620712"/>
            <a:ext cx="1983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CAD5C3D4-1AB1-B796-D552-88A7327D49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477211" y="620712"/>
            <a:ext cx="1983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07DFE9A0-9101-450B-E81B-823E17A7926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596097" y="601164"/>
            <a:ext cx="1983600" cy="5616575"/>
          </a:xfrm>
          <a:prstGeom prst="roundRect">
            <a:avLst>
              <a:gd name="adj" fmla="val 1591"/>
            </a:avLst>
          </a:prstGeom>
          <a:solidFill>
            <a:schemeClr val="bg1">
              <a:lumMod val="95000"/>
            </a:schemeClr>
          </a:solidFill>
        </p:spPr>
        <p:txBody>
          <a:bodyPr lIns="360000" tIns="360000" bIns="360000" anchor="b"/>
          <a:lstStyle>
            <a:lvl1pPr marL="0" indent="0">
              <a:lnSpc>
                <a:spcPct val="100000"/>
              </a:lnSpc>
              <a:buNone/>
              <a:defRPr sz="1000" b="0" i="0" spc="200" baseline="0">
                <a:solidFill>
                  <a:schemeClr val="tx1"/>
                </a:solidFill>
                <a:latin typeface="Archivo Medium" pitchFamily="2" charset="77"/>
                <a:cs typeface="Archivo Medium" pitchFamily="2" charset="77"/>
              </a:defRPr>
            </a:lvl1pPr>
          </a:lstStyle>
          <a:p>
            <a:r>
              <a:rPr lang="en-GB" err="1"/>
              <a:t>Klik</a:t>
            </a:r>
            <a:r>
              <a:rPr lang="en-GB"/>
              <a:t> om </a:t>
            </a:r>
            <a:r>
              <a:rPr lang="en-GB" err="1"/>
              <a:t>afbeelding</a:t>
            </a:r>
            <a:br>
              <a:rPr lang="en-GB"/>
            </a:br>
            <a:r>
              <a:rPr lang="en-GB"/>
              <a:t>toe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099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434">
          <p15:clr>
            <a:srgbClr val="FBAE40"/>
          </p15:clr>
        </p15:guide>
        <p15:guide id="9" pos="2842">
          <p15:clr>
            <a:srgbClr val="FBAE40"/>
          </p15:clr>
        </p15:guide>
        <p15:guide id="10" pos="2638">
          <p15:clr>
            <a:srgbClr val="FBAE40"/>
          </p15:clr>
        </p15:guide>
        <p15:guide id="11" pos="5065">
          <p15:clr>
            <a:srgbClr val="FBAE40"/>
          </p15:clr>
        </p15:guide>
        <p15:guide id="12" pos="4861">
          <p15:clr>
            <a:srgbClr val="FBAE40"/>
          </p15:clr>
        </p15:guide>
        <p15:guide id="13" pos="5269">
          <p15:clr>
            <a:srgbClr val="FBAE40"/>
          </p15:clr>
        </p15:guide>
        <p15:guide id="14" orient="horz" pos="2160">
          <p15:clr>
            <a:srgbClr val="FBAE40"/>
          </p15:clr>
        </p15:guide>
        <p15:guide id="15" orient="horz" pos="195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punten - 6Bloc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72FBC2C5-8D02-E420-AA67-ECE9B15D96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28" y="6468339"/>
            <a:ext cx="742520" cy="164396"/>
          </a:xfrm>
          <a:prstGeom prst="rect">
            <a:avLst/>
          </a:prstGeom>
        </p:spPr>
      </p:pic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756BBC8F-DB97-B47B-553D-AC60DE9DE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2379983" cy="2862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Subtitel</a:t>
            </a:r>
            <a:endParaRPr lang="en-NL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7E58A947-B3B9-07FF-6E8F-8BB8AAC045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444" y="1091800"/>
            <a:ext cx="127623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Titel</a:t>
            </a:r>
            <a:endParaRPr lang="en-NL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0781C1AB-A1A9-77C5-2CB4-9F3A23BB6286}"/>
              </a:ext>
            </a:extLst>
          </p:cNvPr>
          <p:cNvSpPr/>
          <p:nvPr userDrawn="1"/>
        </p:nvSpPr>
        <p:spPr>
          <a:xfrm>
            <a:off x="6934747" y="848432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2" name="Text Placeholder 36">
            <a:extLst>
              <a:ext uri="{FF2B5EF4-FFF2-40B4-BE49-F238E27FC236}">
                <a16:creationId xmlns:a16="http://schemas.microsoft.com/office/drawing/2014/main" id="{AD5D0340-1B79-FE41-F2B2-27B66750AA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97101" y="1829852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tx2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€0,00</a:t>
            </a:r>
            <a:endParaRPr lang="en-NL"/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29C93CEE-16AE-2C03-540E-2877696C4B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01009" y="2517541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5D940A57-7DF4-1140-74BF-798066438903}"/>
              </a:ext>
            </a:extLst>
          </p:cNvPr>
          <p:cNvSpPr/>
          <p:nvPr userDrawn="1"/>
        </p:nvSpPr>
        <p:spPr>
          <a:xfrm>
            <a:off x="4531553" y="848433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715A5230-0DF7-D8D8-781A-5E5C54FDBC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93907" y="1829853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3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+0%</a:t>
            </a:r>
            <a:endParaRPr lang="en-NL"/>
          </a:p>
        </p:txBody>
      </p:sp>
      <p:sp>
        <p:nvSpPr>
          <p:cNvPr id="32" name="Text Placeholder 36">
            <a:extLst>
              <a:ext uri="{FF2B5EF4-FFF2-40B4-BE49-F238E27FC236}">
                <a16:creationId xmlns:a16="http://schemas.microsoft.com/office/drawing/2014/main" id="{B81F542E-7308-C9FA-2EB4-7D42CA5623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97815" y="2517542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3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1C47EF13-7789-3E03-ADEB-F33CD2CAA314}"/>
              </a:ext>
            </a:extLst>
          </p:cNvPr>
          <p:cNvSpPr/>
          <p:nvPr userDrawn="1"/>
        </p:nvSpPr>
        <p:spPr>
          <a:xfrm>
            <a:off x="6941674" y="3459754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4" name="Text Placeholder 36">
            <a:extLst>
              <a:ext uri="{FF2B5EF4-FFF2-40B4-BE49-F238E27FC236}">
                <a16:creationId xmlns:a16="http://schemas.microsoft.com/office/drawing/2014/main" id="{D8A40756-B565-6254-5F12-7FB28BB1BE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04028" y="4441174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5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-0%</a:t>
            </a:r>
            <a:endParaRPr lang="en-NL"/>
          </a:p>
        </p:txBody>
      </p:sp>
      <p:sp>
        <p:nvSpPr>
          <p:cNvPr id="35" name="Text Placeholder 36">
            <a:extLst>
              <a:ext uri="{FF2B5EF4-FFF2-40B4-BE49-F238E27FC236}">
                <a16:creationId xmlns:a16="http://schemas.microsoft.com/office/drawing/2014/main" id="{98D49377-C9A6-1DD4-2FEB-93B8A5135D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07936" y="5128863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5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FA63DEEA-4CD1-7B0A-750F-CAD4F23CD13A}"/>
              </a:ext>
            </a:extLst>
          </p:cNvPr>
          <p:cNvSpPr/>
          <p:nvPr userDrawn="1"/>
        </p:nvSpPr>
        <p:spPr>
          <a:xfrm>
            <a:off x="4538480" y="3459755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2CDF096E-33B3-DBB5-D6DD-8F7AF59979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00834" y="4441175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C3B150E1-9A36-19D4-5913-998D23AB731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04742" y="5128864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121817E4-AD34-31CF-4ABB-6A5AAED1109E}"/>
              </a:ext>
            </a:extLst>
          </p:cNvPr>
          <p:cNvSpPr/>
          <p:nvPr userDrawn="1"/>
        </p:nvSpPr>
        <p:spPr>
          <a:xfrm>
            <a:off x="9337941" y="841506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011E3A5C-D5E8-9BCE-D501-1528934F57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0295" y="1822926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3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+0%</a:t>
            </a:r>
            <a:endParaRPr lang="en-NL"/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1DD52766-079B-FC80-E2ED-2D922D5452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04203" y="2510615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3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1691D06-3F95-E0B7-A510-524F28EEF949}"/>
              </a:ext>
            </a:extLst>
          </p:cNvPr>
          <p:cNvSpPr/>
          <p:nvPr userDrawn="1"/>
        </p:nvSpPr>
        <p:spPr>
          <a:xfrm>
            <a:off x="9344868" y="3452828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6" name="Text Placeholder 36">
            <a:extLst>
              <a:ext uri="{FF2B5EF4-FFF2-40B4-BE49-F238E27FC236}">
                <a16:creationId xmlns:a16="http://schemas.microsoft.com/office/drawing/2014/main" id="{23D5CF3D-FB14-FD9C-C829-EF9C514D07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7222" y="4434248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accent1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AD15071A-385E-DE94-2CAA-47892C53127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511130" y="5121937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accent1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  <p:sp>
        <p:nvSpPr>
          <p:cNvPr id="24" name="Rounded Rectangle 35">
            <a:extLst>
              <a:ext uri="{FF2B5EF4-FFF2-40B4-BE49-F238E27FC236}">
                <a16:creationId xmlns:a16="http://schemas.microsoft.com/office/drawing/2014/main" id="{59903672-B478-1FC3-F27C-82AFFBA71EE9}"/>
              </a:ext>
            </a:extLst>
          </p:cNvPr>
          <p:cNvSpPr/>
          <p:nvPr userDrawn="1"/>
        </p:nvSpPr>
        <p:spPr>
          <a:xfrm>
            <a:off x="2135286" y="3459755"/>
            <a:ext cx="2230301" cy="2464674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0091A224-5A8B-4099-0D20-FA95423F4A3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97640" y="4441175"/>
            <a:ext cx="2167947" cy="83099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4800" b="0" i="0">
                <a:solidFill>
                  <a:schemeClr val="tx2"/>
                </a:solidFill>
                <a:latin typeface="Caveat" pitchFamily="2" charset="0"/>
                <a:cs typeface="Archivo Light" pitchFamily="2" charset="77"/>
              </a:defRPr>
            </a:lvl1pPr>
          </a:lstStyle>
          <a:p>
            <a:pPr lvl="0"/>
            <a:r>
              <a:rPr lang="en-GB"/>
              <a:t>0%</a:t>
            </a:r>
            <a:endParaRPr lang="en-NL"/>
          </a:p>
        </p:txBody>
      </p:sp>
      <p:sp>
        <p:nvSpPr>
          <p:cNvPr id="26" name="Text Placeholder 36">
            <a:extLst>
              <a:ext uri="{FF2B5EF4-FFF2-40B4-BE49-F238E27FC236}">
                <a16:creationId xmlns:a16="http://schemas.microsoft.com/office/drawing/2014/main" id="{15F24498-E2E4-83C2-806F-BE5FA2C998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01548" y="5128864"/>
            <a:ext cx="1898073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Archivo Light" pitchFamily="2" charset="77"/>
                <a:cs typeface="Archivo Light" pitchFamily="2" charset="77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099143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1822">
          <p15:clr>
            <a:srgbClr val="FBAE40"/>
          </p15:clr>
        </p15:guide>
        <p15:guide id="9" pos="2230">
          <p15:clr>
            <a:srgbClr val="FBAE40"/>
          </p15:clr>
        </p15:guide>
        <p15:guide id="10" pos="2026">
          <p15:clr>
            <a:srgbClr val="FBAE40"/>
          </p15:clr>
        </p15:guide>
        <p15:guide id="11" pos="4044">
          <p15:clr>
            <a:srgbClr val="FBAE40"/>
          </p15:clr>
        </p15:guide>
        <p15:guide id="12" pos="3636">
          <p15:clr>
            <a:srgbClr val="FBAE40"/>
          </p15:clr>
        </p15:guide>
        <p15:guide id="13" pos="5450">
          <p15:clr>
            <a:srgbClr val="FBAE40"/>
          </p15:clr>
        </p15:guide>
        <p15:guide id="14" pos="5677">
          <p15:clr>
            <a:srgbClr val="FBAE40"/>
          </p15:clr>
        </p15:guide>
        <p15:guide id="15" pos="588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 - Blauw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">
            <a:extLst>
              <a:ext uri="{FF2B5EF4-FFF2-40B4-BE49-F238E27FC236}">
                <a16:creationId xmlns:a16="http://schemas.microsoft.com/office/drawing/2014/main" id="{F02C95B8-05D0-7898-EDE6-7E2ADF86821E}"/>
              </a:ext>
            </a:extLst>
          </p:cNvPr>
          <p:cNvSpPr/>
          <p:nvPr userDrawn="1"/>
        </p:nvSpPr>
        <p:spPr>
          <a:xfrm rot="10800000" flipH="1">
            <a:off x="140960" y="143217"/>
            <a:ext cx="11924040" cy="65962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263" y="0"/>
                </a:moveTo>
                <a:cubicBezTo>
                  <a:pt x="225" y="0"/>
                  <a:pt x="194" y="0"/>
                  <a:pt x="169" y="3"/>
                </a:cubicBezTo>
                <a:cubicBezTo>
                  <a:pt x="143" y="6"/>
                  <a:pt x="124" y="12"/>
                  <a:pt x="109" y="24"/>
                </a:cubicBezTo>
                <a:cubicBezTo>
                  <a:pt x="87" y="38"/>
                  <a:pt x="67" y="62"/>
                  <a:pt x="50" y="91"/>
                </a:cubicBezTo>
                <a:cubicBezTo>
                  <a:pt x="34" y="121"/>
                  <a:pt x="21" y="157"/>
                  <a:pt x="13" y="197"/>
                </a:cubicBezTo>
                <a:cubicBezTo>
                  <a:pt x="7" y="225"/>
                  <a:pt x="3" y="260"/>
                  <a:pt x="2" y="305"/>
                </a:cubicBezTo>
                <a:cubicBezTo>
                  <a:pt x="0" y="351"/>
                  <a:pt x="0" y="407"/>
                  <a:pt x="0" y="477"/>
                </a:cubicBezTo>
                <a:lnTo>
                  <a:pt x="0" y="21123"/>
                </a:lnTo>
                <a:cubicBezTo>
                  <a:pt x="0" y="21193"/>
                  <a:pt x="0" y="21249"/>
                  <a:pt x="2" y="21295"/>
                </a:cubicBezTo>
                <a:cubicBezTo>
                  <a:pt x="3" y="21340"/>
                  <a:pt x="7" y="21375"/>
                  <a:pt x="13" y="21403"/>
                </a:cubicBezTo>
                <a:cubicBezTo>
                  <a:pt x="21" y="21443"/>
                  <a:pt x="34" y="21479"/>
                  <a:pt x="50" y="21509"/>
                </a:cubicBezTo>
                <a:cubicBezTo>
                  <a:pt x="67" y="21538"/>
                  <a:pt x="87" y="21562"/>
                  <a:pt x="109" y="21576"/>
                </a:cubicBezTo>
                <a:cubicBezTo>
                  <a:pt x="124" y="21588"/>
                  <a:pt x="143" y="21595"/>
                  <a:pt x="169" y="21597"/>
                </a:cubicBezTo>
                <a:cubicBezTo>
                  <a:pt x="169" y="21597"/>
                  <a:pt x="169" y="21597"/>
                  <a:pt x="169" y="21597"/>
                </a:cubicBezTo>
                <a:cubicBezTo>
                  <a:pt x="194" y="21599"/>
                  <a:pt x="225" y="21600"/>
                  <a:pt x="263" y="21600"/>
                </a:cubicBezTo>
                <a:cubicBezTo>
                  <a:pt x="263" y="21600"/>
                  <a:pt x="264" y="21600"/>
                  <a:pt x="264" y="21600"/>
                </a:cubicBezTo>
                <a:lnTo>
                  <a:pt x="7428" y="21600"/>
                </a:lnTo>
                <a:lnTo>
                  <a:pt x="8769" y="21600"/>
                </a:lnTo>
                <a:cubicBezTo>
                  <a:pt x="8808" y="21600"/>
                  <a:pt x="8839" y="21600"/>
                  <a:pt x="8864" y="21597"/>
                </a:cubicBezTo>
                <a:cubicBezTo>
                  <a:pt x="8876" y="21596"/>
                  <a:pt x="8883" y="21590"/>
                  <a:pt x="8892" y="21587"/>
                </a:cubicBezTo>
                <a:lnTo>
                  <a:pt x="8893" y="21593"/>
                </a:lnTo>
                <a:cubicBezTo>
                  <a:pt x="9861" y="21210"/>
                  <a:pt x="10772" y="20552"/>
                  <a:pt x="11600" y="19665"/>
                </a:cubicBezTo>
                <a:cubicBezTo>
                  <a:pt x="12427" y="18778"/>
                  <a:pt x="13170" y="17661"/>
                  <a:pt x="13803" y="16360"/>
                </a:cubicBezTo>
                <a:lnTo>
                  <a:pt x="11968" y="6"/>
                </a:lnTo>
                <a:lnTo>
                  <a:pt x="8866" y="2"/>
                </a:lnTo>
                <a:lnTo>
                  <a:pt x="8866" y="4"/>
                </a:lnTo>
                <a:cubicBezTo>
                  <a:pt x="8865" y="3"/>
                  <a:pt x="8864" y="3"/>
                  <a:pt x="8864" y="3"/>
                </a:cubicBezTo>
                <a:cubicBezTo>
                  <a:pt x="8839" y="0"/>
                  <a:pt x="8808" y="0"/>
                  <a:pt x="8769" y="0"/>
                </a:cubicBezTo>
                <a:lnTo>
                  <a:pt x="4900" y="0"/>
                </a:lnTo>
                <a:lnTo>
                  <a:pt x="263" y="0"/>
                </a:lnTo>
                <a:close/>
                <a:moveTo>
                  <a:pt x="13803" y="16360"/>
                </a:moveTo>
                <a:lnTo>
                  <a:pt x="14391" y="21600"/>
                </a:lnTo>
                <a:lnTo>
                  <a:pt x="21336" y="21600"/>
                </a:lnTo>
                <a:cubicBezTo>
                  <a:pt x="21375" y="21600"/>
                  <a:pt x="21406" y="21600"/>
                  <a:pt x="21431" y="21597"/>
                </a:cubicBezTo>
                <a:cubicBezTo>
                  <a:pt x="21456" y="21594"/>
                  <a:pt x="21476" y="21588"/>
                  <a:pt x="21491" y="21576"/>
                </a:cubicBezTo>
                <a:cubicBezTo>
                  <a:pt x="21513" y="21562"/>
                  <a:pt x="21533" y="21538"/>
                  <a:pt x="21550" y="21509"/>
                </a:cubicBezTo>
                <a:cubicBezTo>
                  <a:pt x="21566" y="21479"/>
                  <a:pt x="21579" y="21443"/>
                  <a:pt x="21587" y="21403"/>
                </a:cubicBezTo>
                <a:cubicBezTo>
                  <a:pt x="21593" y="21375"/>
                  <a:pt x="21597" y="21340"/>
                  <a:pt x="21598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8" y="305"/>
                </a:cubicBezTo>
                <a:cubicBezTo>
                  <a:pt x="21597" y="260"/>
                  <a:pt x="21593" y="225"/>
                  <a:pt x="21587" y="197"/>
                </a:cubicBezTo>
                <a:cubicBezTo>
                  <a:pt x="21579" y="157"/>
                  <a:pt x="21566" y="121"/>
                  <a:pt x="21550" y="91"/>
                </a:cubicBezTo>
                <a:cubicBezTo>
                  <a:pt x="21533" y="62"/>
                  <a:pt x="21513" y="38"/>
                  <a:pt x="21491" y="24"/>
                </a:cubicBezTo>
                <a:cubicBezTo>
                  <a:pt x="21476" y="12"/>
                  <a:pt x="21456" y="6"/>
                  <a:pt x="21431" y="3"/>
                </a:cubicBezTo>
                <a:cubicBezTo>
                  <a:pt x="21406" y="0"/>
                  <a:pt x="21375" y="0"/>
                  <a:pt x="21336" y="0"/>
                </a:cubicBezTo>
                <a:lnTo>
                  <a:pt x="15505" y="0"/>
                </a:lnTo>
                <a:cubicBezTo>
                  <a:pt x="16187" y="3303"/>
                  <a:pt x="16247" y="6921"/>
                  <a:pt x="15676" y="10292"/>
                </a:cubicBezTo>
                <a:cubicBezTo>
                  <a:pt x="15291" y="12571"/>
                  <a:pt x="14645" y="14629"/>
                  <a:pt x="13803" y="16360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sp>
        <p:nvSpPr>
          <p:cNvPr id="8" name="Shape">
            <a:extLst>
              <a:ext uri="{FF2B5EF4-FFF2-40B4-BE49-F238E27FC236}">
                <a16:creationId xmlns:a16="http://schemas.microsoft.com/office/drawing/2014/main" id="{F7D7FC6E-6A40-0920-4A15-DC0E5A7D4D73}"/>
              </a:ext>
            </a:extLst>
          </p:cNvPr>
          <p:cNvSpPr/>
          <p:nvPr userDrawn="1"/>
        </p:nvSpPr>
        <p:spPr>
          <a:xfrm rot="10800000" flipH="1">
            <a:off x="7733654" y="151784"/>
            <a:ext cx="4330725" cy="65791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9" extrusionOk="0">
                <a:moveTo>
                  <a:pt x="0" y="16375"/>
                </a:moveTo>
                <a:lnTo>
                  <a:pt x="17" y="16360"/>
                </a:lnTo>
                <a:lnTo>
                  <a:pt x="0" y="16375"/>
                </a:lnTo>
                <a:close/>
                <a:moveTo>
                  <a:pt x="17" y="16360"/>
                </a:moveTo>
                <a:lnTo>
                  <a:pt x="1637" y="21600"/>
                </a:lnTo>
                <a:lnTo>
                  <a:pt x="20873" y="21600"/>
                </a:lnTo>
                <a:cubicBezTo>
                  <a:pt x="20980" y="21600"/>
                  <a:pt x="21065" y="21600"/>
                  <a:pt x="21134" y="21597"/>
                </a:cubicBezTo>
                <a:cubicBezTo>
                  <a:pt x="21204" y="21594"/>
                  <a:pt x="21257" y="21588"/>
                  <a:pt x="21300" y="21576"/>
                </a:cubicBezTo>
                <a:cubicBezTo>
                  <a:pt x="21361" y="21562"/>
                  <a:pt x="21416" y="21538"/>
                  <a:pt x="21461" y="21509"/>
                </a:cubicBezTo>
                <a:cubicBezTo>
                  <a:pt x="21506" y="21479"/>
                  <a:pt x="21542" y="21443"/>
                  <a:pt x="21564" y="21403"/>
                </a:cubicBezTo>
                <a:cubicBezTo>
                  <a:pt x="21582" y="21375"/>
                  <a:pt x="21591" y="21340"/>
                  <a:pt x="21596" y="21295"/>
                </a:cubicBezTo>
                <a:cubicBezTo>
                  <a:pt x="21600" y="21249"/>
                  <a:pt x="21600" y="21193"/>
                  <a:pt x="21600" y="21123"/>
                </a:cubicBezTo>
                <a:lnTo>
                  <a:pt x="21600" y="477"/>
                </a:lnTo>
                <a:cubicBezTo>
                  <a:pt x="21600" y="407"/>
                  <a:pt x="21600" y="351"/>
                  <a:pt x="21596" y="305"/>
                </a:cubicBezTo>
                <a:cubicBezTo>
                  <a:pt x="21591" y="260"/>
                  <a:pt x="21582" y="225"/>
                  <a:pt x="21564" y="197"/>
                </a:cubicBezTo>
                <a:cubicBezTo>
                  <a:pt x="21542" y="157"/>
                  <a:pt x="21506" y="121"/>
                  <a:pt x="21461" y="91"/>
                </a:cubicBezTo>
                <a:cubicBezTo>
                  <a:pt x="21416" y="62"/>
                  <a:pt x="21361" y="38"/>
                  <a:pt x="21300" y="24"/>
                </a:cubicBezTo>
                <a:cubicBezTo>
                  <a:pt x="21257" y="12"/>
                  <a:pt x="21204" y="6"/>
                  <a:pt x="21134" y="3"/>
                </a:cubicBezTo>
                <a:cubicBezTo>
                  <a:pt x="21065" y="0"/>
                  <a:pt x="20980" y="0"/>
                  <a:pt x="20873" y="0"/>
                </a:cubicBezTo>
                <a:lnTo>
                  <a:pt x="4708" y="0"/>
                </a:lnTo>
                <a:cubicBezTo>
                  <a:pt x="6586" y="3303"/>
                  <a:pt x="6752" y="6921"/>
                  <a:pt x="5180" y="10292"/>
                </a:cubicBezTo>
                <a:cubicBezTo>
                  <a:pt x="4117" y="12571"/>
                  <a:pt x="2337" y="14629"/>
                  <a:pt x="17" y="16360"/>
                </a:cubicBezTo>
                <a:close/>
              </a:path>
            </a:pathLst>
          </a:custGeom>
          <a:solidFill>
            <a:schemeClr val="accent5"/>
          </a:solidFill>
          <a:ln w="38100">
            <a:solidFill>
              <a:schemeClr val="accent6"/>
            </a:solidFill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4000">
                <a:solidFill>
                  <a:schemeClr val="accent6"/>
                </a:solidFill>
                <a:latin typeface="Bricolage Grotesque 96pt ExtraBold SemiBold"/>
                <a:ea typeface="Bricolage Grotesque 96pt ExtraBold SemiBold"/>
                <a:cs typeface="Bricolage Grotesque 96pt ExtraBold SemiBold"/>
                <a:sym typeface="Bricolage Grotesque 96pt ExtraBold SemiBold"/>
              </a:defRPr>
            </a:pPr>
            <a:endParaRPr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accent5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0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accent5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3DA0C48-0FD8-CBF1-46DD-1DBA9C39FE7E}"/>
              </a:ext>
            </a:extLst>
          </p:cNvPr>
          <p:cNvSpPr>
            <a:spLocks noChangeAspect="1"/>
          </p:cNvSpPr>
          <p:nvPr userDrawn="1"/>
        </p:nvSpPr>
        <p:spPr>
          <a:xfrm>
            <a:off x="4974117" y="96642"/>
            <a:ext cx="90000" cy="90000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EBB4D5A-A772-C7BC-55F2-5793E99EFE30}"/>
              </a:ext>
            </a:extLst>
          </p:cNvPr>
          <p:cNvSpPr>
            <a:spLocks noChangeAspect="1"/>
          </p:cNvSpPr>
          <p:nvPr userDrawn="1"/>
        </p:nvSpPr>
        <p:spPr>
          <a:xfrm>
            <a:off x="8637736" y="6671358"/>
            <a:ext cx="90000" cy="90000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E6767E1-8CAE-8B28-B65B-4F2A453F8323}"/>
              </a:ext>
            </a:extLst>
          </p:cNvPr>
          <p:cNvSpPr txBox="1"/>
          <p:nvPr userDrawn="1"/>
        </p:nvSpPr>
        <p:spPr>
          <a:xfrm rot="16868678">
            <a:off x="7410406" y="751572"/>
            <a:ext cx="13640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GB" sz="2400" err="1">
                <a:solidFill>
                  <a:schemeClr val="accent6"/>
                </a:solidFill>
                <a:latin typeface="Caveat" pitchFamily="2" charset="0"/>
                <a:cs typeface="Archivo" pitchFamily="2" charset="77"/>
              </a:rPr>
              <a:t>waaronder</a:t>
            </a:r>
            <a:r>
              <a:rPr lang="en-GB" sz="2400">
                <a:solidFill>
                  <a:schemeClr val="accent6"/>
                </a:solidFill>
                <a:latin typeface="Caveat" pitchFamily="2" charset="0"/>
                <a:cs typeface="Archivo" pitchFamily="2" charset="77"/>
              </a:rPr>
              <a:t>:</a:t>
            </a:r>
            <a:endParaRPr lang="en-NL" sz="2400">
              <a:solidFill>
                <a:schemeClr val="accent6"/>
              </a:solidFill>
              <a:latin typeface="Caveat" pitchFamily="2" charset="0"/>
              <a:cs typeface="Archivo" pitchFamily="2" charset="77"/>
            </a:endParaRP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B6BA4B1E-8F0D-B7F8-3A79-670E317A59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6251" y="4709821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6</a:t>
            </a:r>
            <a:endParaRPr lang="en-NL"/>
          </a:p>
        </p:txBody>
      </p:sp>
      <p:sp>
        <p:nvSpPr>
          <p:cNvPr id="4" name="Text Placeholder 36">
            <a:extLst>
              <a:ext uri="{FF2B5EF4-FFF2-40B4-BE49-F238E27FC236}">
                <a16:creationId xmlns:a16="http://schemas.microsoft.com/office/drawing/2014/main" id="{C5911C35-8F7A-1CF2-120C-FCA8389A5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59311" y="5109215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5" name="Text Placeholder 36">
            <a:extLst>
              <a:ext uri="{FF2B5EF4-FFF2-40B4-BE49-F238E27FC236}">
                <a16:creationId xmlns:a16="http://schemas.microsoft.com/office/drawing/2014/main" id="{D73E9648-0E2C-DABA-3D8A-9F3D3A38E5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08942" y="518726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1</a:t>
            </a:r>
            <a:endParaRPr lang="en-NL"/>
          </a:p>
        </p:txBody>
      </p:sp>
      <p:sp>
        <p:nvSpPr>
          <p:cNvPr id="6" name="Text Placeholder 36">
            <a:extLst>
              <a:ext uri="{FF2B5EF4-FFF2-40B4-BE49-F238E27FC236}">
                <a16:creationId xmlns:a16="http://schemas.microsoft.com/office/drawing/2014/main" id="{A71881A9-F935-3FB8-D8F3-F4507D63EFB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72002" y="918120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A1F331B5-DBF0-541E-A7E4-8A4B188366B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05228" y="1358040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2</a:t>
            </a:r>
            <a:endParaRPr lang="en-NL"/>
          </a:p>
        </p:txBody>
      </p:sp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08765B5B-CDB6-A5AF-4FC8-1C3CCDEA5BB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68288" y="1757434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57D7741C-4B6B-6FC9-D77E-CD6C0020C1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2664" y="2199359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3</a:t>
            </a:r>
            <a:endParaRPr lang="en-NL"/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F130F817-473B-B98C-2C90-2EFBF26D3C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75724" y="2598753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F7471061-A8AA-7F71-4124-D6F2A85D2DF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1514" y="3044398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4</a:t>
            </a:r>
            <a:endParaRPr lang="en-NL"/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5599456E-2D86-7D42-0C59-912B452552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64574" y="3443792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0" name="Text Placeholder 36">
            <a:extLst>
              <a:ext uri="{FF2B5EF4-FFF2-40B4-BE49-F238E27FC236}">
                <a16:creationId xmlns:a16="http://schemas.microsoft.com/office/drawing/2014/main" id="{71B5A35F-7E8E-8074-F59E-83C4C1603C1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8950" y="3885717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5</a:t>
            </a:r>
            <a:endParaRPr lang="en-NL"/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C56EF92F-6457-0D77-8892-AA4F4D64CFD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72010" y="4285111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  <p:sp>
        <p:nvSpPr>
          <p:cNvPr id="24" name="Text Placeholder 36">
            <a:extLst>
              <a:ext uri="{FF2B5EF4-FFF2-40B4-BE49-F238E27FC236}">
                <a16:creationId xmlns:a16="http://schemas.microsoft.com/office/drawing/2014/main" id="{0C694BA6-99AF-60A3-25FF-0D1205746FC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2347" y="5557165"/>
            <a:ext cx="2108802" cy="54200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3200">
                <a:solidFill>
                  <a:schemeClr val="accent6"/>
                </a:solidFill>
                <a:latin typeface="Caveat" pitchFamily="2" charset="0"/>
                <a:cs typeface="Archivo" pitchFamily="2" charset="77"/>
              </a:defRPr>
            </a:lvl1pPr>
          </a:lstStyle>
          <a:p>
            <a:pPr lvl="0"/>
            <a:r>
              <a:rPr lang="en-GB"/>
              <a:t>1.7</a:t>
            </a:r>
            <a:endParaRPr lang="en-NL"/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C1DD6BF9-F9C8-CB15-EDEF-7B889E6B08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65407" y="5956559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naam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95309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ment - Oranj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E16F2D28-860C-A16E-3526-46724403B17E}"/>
              </a:ext>
            </a:extLst>
          </p:cNvPr>
          <p:cNvSpPr>
            <a:spLocks noChangeAspect="1"/>
          </p:cNvSpPr>
          <p:nvPr userDrawn="1"/>
        </p:nvSpPr>
        <p:spPr>
          <a:xfrm>
            <a:off x="142142" y="133200"/>
            <a:ext cx="11907716" cy="6591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88" y="0"/>
                </a:moveTo>
                <a:lnTo>
                  <a:pt x="19417" y="7"/>
                </a:lnTo>
                <a:lnTo>
                  <a:pt x="19417" y="37"/>
                </a:lnTo>
                <a:cubicBezTo>
                  <a:pt x="18988" y="601"/>
                  <a:pt x="18588" y="1226"/>
                  <a:pt x="18220" y="1904"/>
                </a:cubicBezTo>
                <a:cubicBezTo>
                  <a:pt x="17851" y="2582"/>
                  <a:pt x="17514" y="3313"/>
                  <a:pt x="17211" y="4089"/>
                </a:cubicBezTo>
                <a:lnTo>
                  <a:pt x="20668" y="21591"/>
                </a:lnTo>
                <a:lnTo>
                  <a:pt x="20669" y="21600"/>
                </a:lnTo>
                <a:lnTo>
                  <a:pt x="21108" y="21600"/>
                </a:lnTo>
                <a:lnTo>
                  <a:pt x="21232" y="21600"/>
                </a:lnTo>
                <a:lnTo>
                  <a:pt x="21304" y="21600"/>
                </a:lnTo>
                <a:cubicBezTo>
                  <a:pt x="21348" y="21600"/>
                  <a:pt x="21382" y="21600"/>
                  <a:pt x="21411" y="21597"/>
                </a:cubicBezTo>
                <a:cubicBezTo>
                  <a:pt x="21439" y="21593"/>
                  <a:pt x="21461" y="21586"/>
                  <a:pt x="21478" y="21573"/>
                </a:cubicBezTo>
                <a:cubicBezTo>
                  <a:pt x="21503" y="21557"/>
                  <a:pt x="21525" y="21531"/>
                  <a:pt x="21544" y="21498"/>
                </a:cubicBezTo>
                <a:cubicBezTo>
                  <a:pt x="21562" y="21464"/>
                  <a:pt x="21577" y="21424"/>
                  <a:pt x="21586" y="21379"/>
                </a:cubicBezTo>
                <a:cubicBezTo>
                  <a:pt x="21593" y="21347"/>
                  <a:pt x="21596" y="21308"/>
                  <a:pt x="21598" y="21257"/>
                </a:cubicBezTo>
                <a:cubicBezTo>
                  <a:pt x="21600" y="21207"/>
                  <a:pt x="21600" y="21144"/>
                  <a:pt x="21600" y="21066"/>
                </a:cubicBezTo>
                <a:lnTo>
                  <a:pt x="21600" y="534"/>
                </a:lnTo>
                <a:cubicBezTo>
                  <a:pt x="21600" y="456"/>
                  <a:pt x="21600" y="393"/>
                  <a:pt x="21598" y="343"/>
                </a:cubicBezTo>
                <a:cubicBezTo>
                  <a:pt x="21596" y="292"/>
                  <a:pt x="21593" y="253"/>
                  <a:pt x="21586" y="221"/>
                </a:cubicBezTo>
                <a:cubicBezTo>
                  <a:pt x="21577" y="176"/>
                  <a:pt x="21562" y="136"/>
                  <a:pt x="21544" y="102"/>
                </a:cubicBezTo>
                <a:cubicBezTo>
                  <a:pt x="21525" y="69"/>
                  <a:pt x="21503" y="43"/>
                  <a:pt x="21478" y="27"/>
                </a:cubicBezTo>
                <a:cubicBezTo>
                  <a:pt x="21461" y="14"/>
                  <a:pt x="21439" y="7"/>
                  <a:pt x="21411" y="3"/>
                </a:cubicBezTo>
                <a:cubicBezTo>
                  <a:pt x="21382" y="0"/>
                  <a:pt x="21348" y="0"/>
                  <a:pt x="21304" y="0"/>
                </a:cubicBezTo>
                <a:lnTo>
                  <a:pt x="21232" y="0"/>
                </a:lnTo>
                <a:lnTo>
                  <a:pt x="21108" y="0"/>
                </a:lnTo>
                <a:lnTo>
                  <a:pt x="20588" y="0"/>
                </a:lnTo>
                <a:close/>
                <a:moveTo>
                  <a:pt x="17211" y="4089"/>
                </a:moveTo>
                <a:lnTo>
                  <a:pt x="16321" y="7"/>
                </a:lnTo>
                <a:lnTo>
                  <a:pt x="12179" y="7"/>
                </a:lnTo>
                <a:lnTo>
                  <a:pt x="264" y="7"/>
                </a:lnTo>
                <a:cubicBezTo>
                  <a:pt x="225" y="7"/>
                  <a:pt x="194" y="7"/>
                  <a:pt x="169" y="10"/>
                </a:cubicBezTo>
                <a:cubicBezTo>
                  <a:pt x="144" y="13"/>
                  <a:pt x="124" y="19"/>
                  <a:pt x="109" y="30"/>
                </a:cubicBezTo>
                <a:cubicBezTo>
                  <a:pt x="87" y="45"/>
                  <a:pt x="67" y="68"/>
                  <a:pt x="50" y="98"/>
                </a:cubicBezTo>
                <a:cubicBezTo>
                  <a:pt x="34" y="128"/>
                  <a:pt x="21" y="163"/>
                  <a:pt x="13" y="204"/>
                </a:cubicBezTo>
                <a:cubicBezTo>
                  <a:pt x="7" y="232"/>
                  <a:pt x="3" y="267"/>
                  <a:pt x="2" y="312"/>
                </a:cubicBezTo>
                <a:cubicBezTo>
                  <a:pt x="0" y="357"/>
                  <a:pt x="0" y="413"/>
                  <a:pt x="0" y="483"/>
                </a:cubicBezTo>
                <a:lnTo>
                  <a:pt x="0" y="21117"/>
                </a:lnTo>
                <a:cubicBezTo>
                  <a:pt x="0" y="21187"/>
                  <a:pt x="0" y="21243"/>
                  <a:pt x="2" y="21288"/>
                </a:cubicBezTo>
                <a:cubicBezTo>
                  <a:pt x="3" y="21333"/>
                  <a:pt x="7" y="21368"/>
                  <a:pt x="13" y="21396"/>
                </a:cubicBezTo>
                <a:cubicBezTo>
                  <a:pt x="21" y="21437"/>
                  <a:pt x="34" y="21472"/>
                  <a:pt x="50" y="21502"/>
                </a:cubicBezTo>
                <a:cubicBezTo>
                  <a:pt x="67" y="21532"/>
                  <a:pt x="87" y="21555"/>
                  <a:pt x="109" y="21570"/>
                </a:cubicBezTo>
                <a:cubicBezTo>
                  <a:pt x="124" y="21581"/>
                  <a:pt x="144" y="21587"/>
                  <a:pt x="169" y="21590"/>
                </a:cubicBezTo>
                <a:cubicBezTo>
                  <a:pt x="194" y="21593"/>
                  <a:pt x="225" y="21593"/>
                  <a:pt x="264" y="21593"/>
                </a:cubicBezTo>
                <a:lnTo>
                  <a:pt x="12179" y="21593"/>
                </a:lnTo>
                <a:lnTo>
                  <a:pt x="16321" y="21593"/>
                </a:lnTo>
                <a:cubicBezTo>
                  <a:pt x="15211" y="17199"/>
                  <a:pt x="15142" y="12177"/>
                  <a:pt x="16130" y="7690"/>
                </a:cubicBezTo>
                <a:cubicBezTo>
                  <a:pt x="16412" y="6411"/>
                  <a:pt x="16777" y="5204"/>
                  <a:pt x="17211" y="408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55600" tIns="355600" rIns="355600" bIns="355600" anchor="ctr"/>
          <a:lstStyle/>
          <a:p>
            <a:pPr algn="ctr" defTabSz="825500">
              <a:lnSpc>
                <a:spcPct val="80000"/>
              </a:lnSpc>
              <a:defRPr sz="3000">
                <a:solidFill>
                  <a:schemeClr val="accent6"/>
                </a:solidFill>
                <a:latin typeface="Archivo SemiBold Regular"/>
                <a:ea typeface="Archivo SemiBold Regular"/>
                <a:cs typeface="Archivo SemiBold Regular"/>
                <a:sym typeface="Archivo SemiBold Regular"/>
              </a:defRPr>
            </a:pPr>
            <a:endParaRPr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FB32118-B1E0-96B8-A9F0-A52893A1F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514" y="5924599"/>
            <a:ext cx="1421476" cy="314718"/>
          </a:xfrm>
          <a:prstGeom prst="rect">
            <a:avLst/>
          </a:prstGeom>
        </p:spPr>
      </p:pic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5529CA16-F489-0394-A4E6-E9E3541F2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731" y="848432"/>
            <a:ext cx="5248419" cy="286232"/>
          </a:xfrm>
          <a:prstGeom prst="rect">
            <a:avLst/>
          </a:prstGeom>
          <a:noFill/>
        </p:spPr>
        <p:txBody>
          <a:bodyPr anchor="t">
            <a:spAutoFit/>
          </a:bodyPr>
          <a:lstStyle>
            <a:lvl1pPr marL="0" indent="0">
              <a:buNone/>
              <a:defRPr sz="1400">
                <a:solidFill>
                  <a:schemeClr val="bg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 err="1"/>
              <a:t>Hoofdstuk</a:t>
            </a:r>
            <a:r>
              <a:rPr lang="en-GB"/>
              <a:t> 1.1</a:t>
            </a:r>
            <a:endParaRPr lang="en-NL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CEFBA8D-E20B-9E44-39F1-18187F9CD5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605" y="1144740"/>
            <a:ext cx="5296545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buNone/>
              <a:defRPr sz="5600" b="1" i="0">
                <a:solidFill>
                  <a:schemeClr val="bg2"/>
                </a:solidFill>
                <a:latin typeface="Archivo" pitchFamily="2" charset="77"/>
                <a:cs typeface="Archivo" pitchFamily="2" charset="77"/>
              </a:defRPr>
            </a:lvl1pPr>
          </a:lstStyle>
          <a:p>
            <a:pPr lvl="0"/>
            <a:r>
              <a:rPr lang="en-GB"/>
              <a:t>De </a:t>
            </a:r>
            <a:r>
              <a:rPr lang="en-GB" err="1"/>
              <a:t>plek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rote</a:t>
            </a:r>
            <a:r>
              <a:rPr lang="en-GB"/>
              <a:t> </a:t>
            </a:r>
            <a:r>
              <a:rPr lang="en-GB" err="1"/>
              <a:t>titel</a:t>
            </a:r>
            <a:r>
              <a:rPr lang="en-GB"/>
              <a:t>.</a:t>
            </a:r>
            <a:endParaRPr lang="en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11C5BF2-D87C-6A80-6634-341CECEA1815}"/>
              </a:ext>
            </a:extLst>
          </p:cNvPr>
          <p:cNvSpPr>
            <a:spLocks noChangeAspect="1"/>
          </p:cNvSpPr>
          <p:nvPr userDrawn="1"/>
        </p:nvSpPr>
        <p:spPr>
          <a:xfrm>
            <a:off x="10821768" y="96642"/>
            <a:ext cx="90000" cy="90000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CDA9E3B-B3E3-1A64-D54A-3EC2C74B5A23}"/>
              </a:ext>
            </a:extLst>
          </p:cNvPr>
          <p:cNvSpPr>
            <a:spLocks noChangeAspect="1"/>
          </p:cNvSpPr>
          <p:nvPr userDrawn="1"/>
        </p:nvSpPr>
        <p:spPr>
          <a:xfrm>
            <a:off x="9093503" y="6671358"/>
            <a:ext cx="90000" cy="90000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1267129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636">
          <p15:clr>
            <a:srgbClr val="FBAE40"/>
          </p15:clr>
        </p15:guide>
        <p15:guide id="9" pos="404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9" Type="http://schemas.openxmlformats.org/officeDocument/2006/relationships/slideLayout" Target="../slideLayouts/slideLayout77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38" Type="http://schemas.openxmlformats.org/officeDocument/2006/relationships/slideLayout" Target="../slideLayouts/slideLayout76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slideLayout" Target="../slideLayouts/slideLayout75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34F8D59-5028-C173-61C0-DB300B42D284}"/>
              </a:ext>
            </a:extLst>
          </p:cNvPr>
          <p:cNvSpPr txBox="1"/>
          <p:nvPr userDrawn="1"/>
        </p:nvSpPr>
        <p:spPr>
          <a:xfrm>
            <a:off x="11568113" y="6382614"/>
            <a:ext cx="5567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F5A076FC-75D6-D54A-B9D3-AC19562FE794}" type="slidenum">
              <a:rPr lang="en-NL" sz="1600" smtClean="0">
                <a:latin typeface="Caveat" pitchFamily="2" charset="0"/>
              </a:rPr>
              <a:t>‹nr.›</a:t>
            </a:fld>
            <a:endParaRPr lang="en-NL" sz="1600">
              <a:latin typeface="Cave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855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8" r:id="rId14"/>
    <p:sldLayoutId id="2147483689" r:id="rId15"/>
    <p:sldLayoutId id="2147483687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6" r:id="rId22"/>
    <p:sldLayoutId id="2147483695" r:id="rId23"/>
    <p:sldLayoutId id="2147483697" r:id="rId24"/>
    <p:sldLayoutId id="2147483698" r:id="rId25"/>
    <p:sldLayoutId id="2147483699" r:id="rId26"/>
    <p:sldLayoutId id="2147483700" r:id="rId27"/>
    <p:sldLayoutId id="2147483703" r:id="rId28"/>
    <p:sldLayoutId id="2147483701" r:id="rId29"/>
    <p:sldLayoutId id="2147483702" r:id="rId30"/>
    <p:sldLayoutId id="2147483704" r:id="rId31"/>
    <p:sldLayoutId id="2147483706" r:id="rId32"/>
    <p:sldLayoutId id="2147483707" r:id="rId33"/>
    <p:sldLayoutId id="2147483705" r:id="rId34"/>
    <p:sldLayoutId id="2147483708" r:id="rId35"/>
    <p:sldLayoutId id="2147483709" r:id="rId36"/>
    <p:sldLayoutId id="2147483711" r:id="rId37"/>
    <p:sldLayoutId id="2147483712" r:id="rId38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 userDrawn="1">
          <p15:clr>
            <a:srgbClr val="F26B43"/>
          </p15:clr>
        </p15:guide>
        <p15:guide id="2" pos="7287" userDrawn="1">
          <p15:clr>
            <a:srgbClr val="F26B43"/>
          </p15:clr>
        </p15:guide>
        <p15:guide id="3" orient="horz" pos="391" userDrawn="1">
          <p15:clr>
            <a:srgbClr val="F26B43"/>
          </p15:clr>
        </p15:guide>
        <p15:guide id="4" orient="horz" pos="595" userDrawn="1">
          <p15:clr>
            <a:srgbClr val="F26B43"/>
          </p15:clr>
        </p15:guide>
        <p15:guide id="5" orient="horz" pos="3725" userDrawn="1">
          <p15:clr>
            <a:srgbClr val="F26B43"/>
          </p15:clr>
        </p15:guide>
        <p15:guide id="6" orient="horz" pos="3929" userDrawn="1">
          <p15:clr>
            <a:srgbClr val="F26B43"/>
          </p15:clr>
        </p15:guide>
        <p15:guide id="7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34F8D59-5028-C173-61C0-DB300B42D284}"/>
              </a:ext>
            </a:extLst>
          </p:cNvPr>
          <p:cNvSpPr txBox="1"/>
          <p:nvPr userDrawn="1"/>
        </p:nvSpPr>
        <p:spPr>
          <a:xfrm>
            <a:off x="11568113" y="6382614"/>
            <a:ext cx="5567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F5A076FC-75D6-D54A-B9D3-AC19562FE794}" type="slidenum">
              <a:rPr lang="en-NL" sz="1600" smtClean="0">
                <a:latin typeface="Caveat" pitchFamily="2" charset="0"/>
              </a:rPr>
              <a:t>‹nr.›</a:t>
            </a:fld>
            <a:endParaRPr lang="en-NL" sz="1600">
              <a:latin typeface="Cave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323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7" r:id="rId24"/>
    <p:sldLayoutId id="2147483738" r:id="rId25"/>
    <p:sldLayoutId id="2147483739" r:id="rId26"/>
    <p:sldLayoutId id="2147483740" r:id="rId27"/>
    <p:sldLayoutId id="2147483741" r:id="rId28"/>
    <p:sldLayoutId id="2147483742" r:id="rId29"/>
    <p:sldLayoutId id="2147483743" r:id="rId30"/>
    <p:sldLayoutId id="2147483744" r:id="rId31"/>
    <p:sldLayoutId id="2147483745" r:id="rId32"/>
    <p:sldLayoutId id="2147483746" r:id="rId33"/>
    <p:sldLayoutId id="2147483747" r:id="rId34"/>
    <p:sldLayoutId id="2147483748" r:id="rId35"/>
    <p:sldLayoutId id="2147483749" r:id="rId36"/>
    <p:sldLayoutId id="2147483750" r:id="rId37"/>
    <p:sldLayoutId id="2147483751" r:id="rId38"/>
    <p:sldLayoutId id="2147483752" r:id="rId3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91">
          <p15:clr>
            <a:srgbClr val="F26B43"/>
          </p15:clr>
        </p15:guide>
        <p15:guide id="4" orient="horz" pos="595">
          <p15:clr>
            <a:srgbClr val="F26B43"/>
          </p15:clr>
        </p15:guide>
        <p15:guide id="5" orient="horz" pos="3725">
          <p15:clr>
            <a:srgbClr val="F26B43"/>
          </p15:clr>
        </p15:guide>
        <p15:guide id="6" orient="horz" pos="3929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slide" Target="slide3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36.png"/><Relationship Id="rId5" Type="http://schemas.openxmlformats.org/officeDocument/2006/relationships/image" Target="../media/image34.png"/><Relationship Id="rId4" Type="http://schemas.openxmlformats.org/officeDocument/2006/relationships/slide" Target="slide3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tiff"/><Relationship Id="rId13" Type="http://schemas.openxmlformats.org/officeDocument/2006/relationships/image" Target="../media/image51.png"/><Relationship Id="rId18" Type="http://schemas.openxmlformats.org/officeDocument/2006/relationships/image" Target="../media/image56.png"/><Relationship Id="rId26" Type="http://schemas.openxmlformats.org/officeDocument/2006/relationships/image" Target="../media/image64.jpeg"/><Relationship Id="rId3" Type="http://schemas.openxmlformats.org/officeDocument/2006/relationships/image" Target="../media/image41.jpeg"/><Relationship Id="rId21" Type="http://schemas.openxmlformats.org/officeDocument/2006/relationships/image" Target="../media/image59.svg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5" Type="http://schemas.openxmlformats.org/officeDocument/2006/relationships/image" Target="../media/image63.sv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54.png"/><Relationship Id="rId20" Type="http://schemas.openxmlformats.org/officeDocument/2006/relationships/image" Target="../media/image58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24" Type="http://schemas.openxmlformats.org/officeDocument/2006/relationships/image" Target="../media/image62.png"/><Relationship Id="rId5" Type="http://schemas.openxmlformats.org/officeDocument/2006/relationships/image" Target="../media/image43.png"/><Relationship Id="rId15" Type="http://schemas.openxmlformats.org/officeDocument/2006/relationships/image" Target="../media/image53.png"/><Relationship Id="rId23" Type="http://schemas.openxmlformats.org/officeDocument/2006/relationships/image" Target="../media/image61.svg"/><Relationship Id="rId10" Type="http://schemas.openxmlformats.org/officeDocument/2006/relationships/image" Target="../media/image48.png"/><Relationship Id="rId19" Type="http://schemas.openxmlformats.org/officeDocument/2006/relationships/image" Target="../media/image57.svg"/><Relationship Id="rId4" Type="http://schemas.openxmlformats.org/officeDocument/2006/relationships/image" Target="../media/image42.png"/><Relationship Id="rId9" Type="http://schemas.openxmlformats.org/officeDocument/2006/relationships/image" Target="../media/image47.png"/><Relationship Id="rId14" Type="http://schemas.openxmlformats.org/officeDocument/2006/relationships/image" Target="../media/image52.png"/><Relationship Id="rId22" Type="http://schemas.openxmlformats.org/officeDocument/2006/relationships/image" Target="../media/image6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4.sv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12" Type="http://schemas.openxmlformats.org/officeDocument/2006/relationships/image" Target="../media/image7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68.png"/><Relationship Id="rId11" Type="http://schemas.openxmlformats.org/officeDocument/2006/relationships/image" Target="../media/image48.png"/><Relationship Id="rId5" Type="http://schemas.openxmlformats.org/officeDocument/2006/relationships/image" Target="../media/image67.jpeg"/><Relationship Id="rId10" Type="http://schemas.openxmlformats.org/officeDocument/2006/relationships/image" Target="../media/image72.png"/><Relationship Id="rId4" Type="http://schemas.openxmlformats.org/officeDocument/2006/relationships/image" Target="../media/image66.png"/><Relationship Id="rId9" Type="http://schemas.openxmlformats.org/officeDocument/2006/relationships/image" Target="../media/image71.png"/><Relationship Id="rId14" Type="http://schemas.openxmlformats.org/officeDocument/2006/relationships/image" Target="../media/image7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tif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77.png"/><Relationship Id="rId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6.tiff"/><Relationship Id="rId7" Type="http://schemas.openxmlformats.org/officeDocument/2006/relationships/image" Target="../media/image78.jpeg"/><Relationship Id="rId12" Type="http://schemas.openxmlformats.org/officeDocument/2006/relationships/image" Target="../media/image8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7.png"/><Relationship Id="rId11" Type="http://schemas.openxmlformats.org/officeDocument/2006/relationships/image" Target="../media/image81.png"/><Relationship Id="rId5" Type="http://schemas.openxmlformats.org/officeDocument/2006/relationships/image" Target="../media/image77.png"/><Relationship Id="rId10" Type="http://schemas.openxmlformats.org/officeDocument/2006/relationships/image" Target="../media/image43.png"/><Relationship Id="rId4" Type="http://schemas.openxmlformats.org/officeDocument/2006/relationships/image" Target="../media/image45.png"/><Relationship Id="rId9" Type="http://schemas.openxmlformats.org/officeDocument/2006/relationships/image" Target="../media/image8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8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8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png"/><Relationship Id="rId18" Type="http://schemas.openxmlformats.org/officeDocument/2006/relationships/image" Target="../media/image101.jpe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12" Type="http://schemas.openxmlformats.org/officeDocument/2006/relationships/image" Target="../media/image95.jpeg"/><Relationship Id="rId17" Type="http://schemas.openxmlformats.org/officeDocument/2006/relationships/image" Target="../media/image100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99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jpeg"/><Relationship Id="rId15" Type="http://schemas.openxmlformats.org/officeDocument/2006/relationships/image" Target="../media/image98.png"/><Relationship Id="rId10" Type="http://schemas.openxmlformats.org/officeDocument/2006/relationships/image" Target="../media/image93.png"/><Relationship Id="rId4" Type="http://schemas.openxmlformats.org/officeDocument/2006/relationships/image" Target="../media/image87.tiff"/><Relationship Id="rId9" Type="http://schemas.openxmlformats.org/officeDocument/2006/relationships/image" Target="../media/image92.png"/><Relationship Id="rId14" Type="http://schemas.openxmlformats.org/officeDocument/2006/relationships/image" Target="../media/image9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svg"/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105.svg"/><Relationship Id="rId5" Type="http://schemas.openxmlformats.org/officeDocument/2006/relationships/image" Target="../media/image104.png"/><Relationship Id="rId4" Type="http://schemas.openxmlformats.org/officeDocument/2006/relationships/image" Target="../media/image103.sv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1.sv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6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3.xml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jpeg"/><Relationship Id="rId1" Type="http://schemas.openxmlformats.org/officeDocument/2006/relationships/slideLayout" Target="../slideLayouts/slideLayout6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118.png"/><Relationship Id="rId4" Type="http://schemas.openxmlformats.org/officeDocument/2006/relationships/image" Target="../media/image121.jpe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69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ienesmoodlab.nl/moodlab-zakelijke-profielfoto-671920.html" TargetMode="External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svg"/><Relationship Id="rId13" Type="http://schemas.openxmlformats.org/officeDocument/2006/relationships/image" Target="../media/image133.png"/><Relationship Id="rId18" Type="http://schemas.openxmlformats.org/officeDocument/2006/relationships/image" Target="../media/image59.svg"/><Relationship Id="rId26" Type="http://schemas.openxmlformats.org/officeDocument/2006/relationships/image" Target="../media/image63.svg"/><Relationship Id="rId39" Type="http://schemas.openxmlformats.org/officeDocument/2006/relationships/image" Target="../media/image152.png"/><Relationship Id="rId3" Type="http://schemas.openxmlformats.org/officeDocument/2006/relationships/image" Target="../media/image123.png"/><Relationship Id="rId21" Type="http://schemas.openxmlformats.org/officeDocument/2006/relationships/image" Target="../media/image136.png"/><Relationship Id="rId34" Type="http://schemas.openxmlformats.org/officeDocument/2006/relationships/image" Target="../media/image147.svg"/><Relationship Id="rId42" Type="http://schemas.openxmlformats.org/officeDocument/2006/relationships/image" Target="../media/image155.svg"/><Relationship Id="rId47" Type="http://schemas.openxmlformats.org/officeDocument/2006/relationships/image" Target="../media/image159.svg"/><Relationship Id="rId7" Type="http://schemas.openxmlformats.org/officeDocument/2006/relationships/image" Target="../media/image127.png"/><Relationship Id="rId12" Type="http://schemas.openxmlformats.org/officeDocument/2006/relationships/image" Target="../media/image132.svg"/><Relationship Id="rId17" Type="http://schemas.openxmlformats.org/officeDocument/2006/relationships/image" Target="../media/image58.png"/><Relationship Id="rId25" Type="http://schemas.openxmlformats.org/officeDocument/2006/relationships/image" Target="../media/image62.png"/><Relationship Id="rId33" Type="http://schemas.openxmlformats.org/officeDocument/2006/relationships/image" Target="../media/image146.png"/><Relationship Id="rId38" Type="http://schemas.openxmlformats.org/officeDocument/2006/relationships/image" Target="../media/image151.svg"/><Relationship Id="rId46" Type="http://schemas.openxmlformats.org/officeDocument/2006/relationships/image" Target="../media/image158.png"/><Relationship Id="rId2" Type="http://schemas.openxmlformats.org/officeDocument/2006/relationships/notesSlide" Target="../notesSlides/notesSlide23.xml"/><Relationship Id="rId16" Type="http://schemas.openxmlformats.org/officeDocument/2006/relationships/image" Target="../media/image61.svg"/><Relationship Id="rId20" Type="http://schemas.openxmlformats.org/officeDocument/2006/relationships/image" Target="../media/image135.svg"/><Relationship Id="rId29" Type="http://schemas.openxmlformats.org/officeDocument/2006/relationships/image" Target="../media/image142.png"/><Relationship Id="rId41" Type="http://schemas.openxmlformats.org/officeDocument/2006/relationships/image" Target="../media/image154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126.svg"/><Relationship Id="rId11" Type="http://schemas.openxmlformats.org/officeDocument/2006/relationships/image" Target="../media/image131.png"/><Relationship Id="rId24" Type="http://schemas.openxmlformats.org/officeDocument/2006/relationships/image" Target="../media/image139.svg"/><Relationship Id="rId32" Type="http://schemas.openxmlformats.org/officeDocument/2006/relationships/image" Target="../media/image145.svg"/><Relationship Id="rId37" Type="http://schemas.openxmlformats.org/officeDocument/2006/relationships/image" Target="../media/image150.png"/><Relationship Id="rId40" Type="http://schemas.openxmlformats.org/officeDocument/2006/relationships/image" Target="../media/image153.svg"/><Relationship Id="rId45" Type="http://schemas.openxmlformats.org/officeDocument/2006/relationships/hyperlink" Target="https://fonts.google.com/icons" TargetMode="External"/><Relationship Id="rId5" Type="http://schemas.openxmlformats.org/officeDocument/2006/relationships/image" Target="../media/image125.png"/><Relationship Id="rId15" Type="http://schemas.openxmlformats.org/officeDocument/2006/relationships/image" Target="../media/image60.png"/><Relationship Id="rId23" Type="http://schemas.openxmlformats.org/officeDocument/2006/relationships/image" Target="../media/image138.png"/><Relationship Id="rId28" Type="http://schemas.openxmlformats.org/officeDocument/2006/relationships/image" Target="../media/image141.svg"/><Relationship Id="rId36" Type="http://schemas.openxmlformats.org/officeDocument/2006/relationships/image" Target="../media/image149.svg"/><Relationship Id="rId10" Type="http://schemas.openxmlformats.org/officeDocument/2006/relationships/image" Target="../media/image130.svg"/><Relationship Id="rId19" Type="http://schemas.openxmlformats.org/officeDocument/2006/relationships/image" Target="../media/image56.png"/><Relationship Id="rId31" Type="http://schemas.openxmlformats.org/officeDocument/2006/relationships/image" Target="../media/image144.png"/><Relationship Id="rId44" Type="http://schemas.openxmlformats.org/officeDocument/2006/relationships/image" Target="../media/image157.svg"/><Relationship Id="rId4" Type="http://schemas.openxmlformats.org/officeDocument/2006/relationships/image" Target="../media/image124.svg"/><Relationship Id="rId9" Type="http://schemas.openxmlformats.org/officeDocument/2006/relationships/image" Target="../media/image129.png"/><Relationship Id="rId14" Type="http://schemas.openxmlformats.org/officeDocument/2006/relationships/image" Target="../media/image134.svg"/><Relationship Id="rId22" Type="http://schemas.openxmlformats.org/officeDocument/2006/relationships/image" Target="../media/image137.svg"/><Relationship Id="rId27" Type="http://schemas.openxmlformats.org/officeDocument/2006/relationships/image" Target="../media/image140.png"/><Relationship Id="rId30" Type="http://schemas.openxmlformats.org/officeDocument/2006/relationships/image" Target="../media/image143.svg"/><Relationship Id="rId35" Type="http://schemas.openxmlformats.org/officeDocument/2006/relationships/image" Target="../media/image148.png"/><Relationship Id="rId43" Type="http://schemas.openxmlformats.org/officeDocument/2006/relationships/image" Target="../media/image15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9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slide" Target="slide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36.png"/><Relationship Id="rId5" Type="http://schemas.openxmlformats.org/officeDocument/2006/relationships/image" Target="../media/image34.png"/><Relationship Id="rId4" Type="http://schemas.openxmlformats.org/officeDocument/2006/relationships/slide" Target="slide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 descr="A person holding a phone&#10;&#10;Description automatically generated">
            <a:extLst>
              <a:ext uri="{FF2B5EF4-FFF2-40B4-BE49-F238E27FC236}">
                <a16:creationId xmlns:a16="http://schemas.microsoft.com/office/drawing/2014/main" id="{B5458687-8F36-01BF-041A-6E40911C1D2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1242" y="0"/>
            <a:ext cx="4230757" cy="6858000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1868F9C-81BC-E439-36E3-2776C6747C11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Shape">
              <a:extLst>
                <a:ext uri="{FF2B5EF4-FFF2-40B4-BE49-F238E27FC236}">
                  <a16:creationId xmlns:a16="http://schemas.microsoft.com/office/drawing/2014/main" id="{F445E6FC-753F-24BC-4CF8-419255082A6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0"/>
              <a:ext cx="12192000" cy="6858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  <a:moveTo>
                    <a:pt x="16026" y="400"/>
                  </a:moveTo>
                  <a:lnTo>
                    <a:pt x="21117" y="400"/>
                  </a:lnTo>
                  <a:cubicBezTo>
                    <a:pt x="21155" y="400"/>
                    <a:pt x="21185" y="400"/>
                    <a:pt x="21210" y="402"/>
                  </a:cubicBezTo>
                  <a:cubicBezTo>
                    <a:pt x="21234" y="405"/>
                    <a:pt x="21253" y="411"/>
                    <a:pt x="21268" y="422"/>
                  </a:cubicBezTo>
                  <a:cubicBezTo>
                    <a:pt x="21290" y="437"/>
                    <a:pt x="21310" y="459"/>
                    <a:pt x="21326" y="488"/>
                  </a:cubicBezTo>
                  <a:cubicBezTo>
                    <a:pt x="21342" y="516"/>
                    <a:pt x="21354" y="551"/>
                    <a:pt x="21362" y="589"/>
                  </a:cubicBezTo>
                  <a:cubicBezTo>
                    <a:pt x="21369" y="616"/>
                    <a:pt x="21372" y="650"/>
                    <a:pt x="21374" y="694"/>
                  </a:cubicBezTo>
                  <a:cubicBezTo>
                    <a:pt x="21375" y="737"/>
                    <a:pt x="21375" y="791"/>
                    <a:pt x="21375" y="859"/>
                  </a:cubicBezTo>
                  <a:lnTo>
                    <a:pt x="21375" y="20741"/>
                  </a:lnTo>
                  <a:cubicBezTo>
                    <a:pt x="21375" y="20809"/>
                    <a:pt x="21375" y="20863"/>
                    <a:pt x="21374" y="20906"/>
                  </a:cubicBezTo>
                  <a:cubicBezTo>
                    <a:pt x="21372" y="20950"/>
                    <a:pt x="21369" y="20984"/>
                    <a:pt x="21362" y="21011"/>
                  </a:cubicBezTo>
                  <a:cubicBezTo>
                    <a:pt x="21354" y="21049"/>
                    <a:pt x="21342" y="21084"/>
                    <a:pt x="21326" y="21112"/>
                  </a:cubicBezTo>
                  <a:cubicBezTo>
                    <a:pt x="21310" y="21141"/>
                    <a:pt x="21290" y="21163"/>
                    <a:pt x="21268" y="21178"/>
                  </a:cubicBezTo>
                  <a:cubicBezTo>
                    <a:pt x="21253" y="21189"/>
                    <a:pt x="21234" y="21195"/>
                    <a:pt x="21210" y="21198"/>
                  </a:cubicBezTo>
                  <a:cubicBezTo>
                    <a:pt x="21185" y="21200"/>
                    <a:pt x="21155" y="21200"/>
                    <a:pt x="21117" y="21200"/>
                  </a:cubicBezTo>
                  <a:lnTo>
                    <a:pt x="14935" y="21200"/>
                  </a:lnTo>
                  <a:lnTo>
                    <a:pt x="14359" y="16154"/>
                  </a:lnTo>
                  <a:cubicBezTo>
                    <a:pt x="15183" y="14487"/>
                    <a:pt x="15816" y="12506"/>
                    <a:pt x="16194" y="10311"/>
                  </a:cubicBezTo>
                  <a:cubicBezTo>
                    <a:pt x="16752" y="7064"/>
                    <a:pt x="16693" y="3581"/>
                    <a:pt x="16026" y="400"/>
                  </a:cubicBezTo>
                  <a:close/>
                </a:path>
              </a:pathLst>
            </a:custGeom>
            <a:solidFill>
              <a:schemeClr val="bg2"/>
            </a:solidFill>
            <a:ln w="12700">
              <a:miter lim="400000"/>
            </a:ln>
          </p:spPr>
          <p:txBody>
            <a:bodyPr lIns="355600" tIns="355600" rIns="355600" bIns="355600" anchor="ctr"/>
            <a:lstStyle/>
            <a:p>
              <a:pPr marL="0" marR="0" lvl="0" indent="0" algn="ctr" defTabSz="8255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000" b="1">
                  <a:solidFill>
                    <a:srgbClr val="A1D3F8"/>
                  </a:solidFill>
                  <a:latin typeface="+mn-lt"/>
                  <a:ea typeface="+mn-ea"/>
                  <a:cs typeface="+mn-cs"/>
                  <a:sym typeface="BricolageGrotesque-96ptExtraBold_Bold"/>
                </a:defRPr>
              </a:pPr>
              <a:endParaRPr kumimoji="0" sz="4000" b="1" i="0" u="none" strike="noStrike" kern="1200" cap="none" spc="0" normalizeH="0" baseline="0" noProof="0">
                <a:ln>
                  <a:noFill/>
                </a:ln>
                <a:solidFill>
                  <a:srgbClr val="A1D3F8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  <a:sym typeface="BricolageGrotesque-96ptExtraBold_Bold"/>
              </a:endParaRPr>
            </a:p>
          </p:txBody>
        </p:sp>
        <p:sp>
          <p:nvSpPr>
            <p:cNvPr id="8" name="Shape">
              <a:extLst>
                <a:ext uri="{FF2B5EF4-FFF2-40B4-BE49-F238E27FC236}">
                  <a16:creationId xmlns:a16="http://schemas.microsoft.com/office/drawing/2014/main" id="{7DE8391F-7C39-696D-5892-F7D5553FA34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27000" y="127000"/>
              <a:ext cx="9013431" cy="66040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99" extrusionOk="0">
                  <a:moveTo>
                    <a:pt x="349" y="0"/>
                  </a:moveTo>
                  <a:cubicBezTo>
                    <a:pt x="298" y="0"/>
                    <a:pt x="256" y="0"/>
                    <a:pt x="223" y="3"/>
                  </a:cubicBezTo>
                  <a:cubicBezTo>
                    <a:pt x="190" y="6"/>
                    <a:pt x="165" y="12"/>
                    <a:pt x="144" y="24"/>
                  </a:cubicBezTo>
                  <a:cubicBezTo>
                    <a:pt x="115" y="38"/>
                    <a:pt x="88" y="62"/>
                    <a:pt x="67" y="91"/>
                  </a:cubicBezTo>
                  <a:cubicBezTo>
                    <a:pt x="45" y="121"/>
                    <a:pt x="28" y="157"/>
                    <a:pt x="17" y="197"/>
                  </a:cubicBezTo>
                  <a:cubicBezTo>
                    <a:pt x="9" y="225"/>
                    <a:pt x="4" y="260"/>
                    <a:pt x="2" y="305"/>
                  </a:cubicBezTo>
                  <a:cubicBezTo>
                    <a:pt x="0" y="351"/>
                    <a:pt x="0" y="407"/>
                    <a:pt x="0" y="477"/>
                  </a:cubicBezTo>
                  <a:lnTo>
                    <a:pt x="0" y="21123"/>
                  </a:lnTo>
                  <a:cubicBezTo>
                    <a:pt x="0" y="21193"/>
                    <a:pt x="0" y="21249"/>
                    <a:pt x="2" y="21295"/>
                  </a:cubicBezTo>
                  <a:cubicBezTo>
                    <a:pt x="4" y="21340"/>
                    <a:pt x="9" y="21375"/>
                    <a:pt x="17" y="21403"/>
                  </a:cubicBezTo>
                  <a:cubicBezTo>
                    <a:pt x="28" y="21443"/>
                    <a:pt x="45" y="21479"/>
                    <a:pt x="67" y="21509"/>
                  </a:cubicBezTo>
                  <a:cubicBezTo>
                    <a:pt x="88" y="21538"/>
                    <a:pt x="115" y="21562"/>
                    <a:pt x="144" y="21576"/>
                  </a:cubicBezTo>
                  <a:cubicBezTo>
                    <a:pt x="165" y="21588"/>
                    <a:pt x="190" y="21594"/>
                    <a:pt x="223" y="21597"/>
                  </a:cubicBezTo>
                  <a:cubicBezTo>
                    <a:pt x="223" y="21597"/>
                    <a:pt x="224" y="21597"/>
                    <a:pt x="224" y="21597"/>
                  </a:cubicBezTo>
                  <a:cubicBezTo>
                    <a:pt x="257" y="21600"/>
                    <a:pt x="298" y="21600"/>
                    <a:pt x="349" y="21600"/>
                  </a:cubicBezTo>
                  <a:cubicBezTo>
                    <a:pt x="349" y="21600"/>
                    <a:pt x="349" y="21600"/>
                    <a:pt x="349" y="21600"/>
                  </a:cubicBezTo>
                  <a:lnTo>
                    <a:pt x="10675" y="21600"/>
                  </a:lnTo>
                  <a:lnTo>
                    <a:pt x="12452" y="21600"/>
                  </a:lnTo>
                  <a:cubicBezTo>
                    <a:pt x="12503" y="21600"/>
                    <a:pt x="12543" y="21600"/>
                    <a:pt x="12577" y="21597"/>
                  </a:cubicBezTo>
                  <a:cubicBezTo>
                    <a:pt x="12592" y="21596"/>
                    <a:pt x="12602" y="21590"/>
                    <a:pt x="12614" y="21587"/>
                  </a:cubicBezTo>
                  <a:lnTo>
                    <a:pt x="12616" y="21593"/>
                  </a:lnTo>
                  <a:cubicBezTo>
                    <a:pt x="13898" y="21210"/>
                    <a:pt x="15105" y="20552"/>
                    <a:pt x="16201" y="19665"/>
                  </a:cubicBezTo>
                  <a:cubicBezTo>
                    <a:pt x="17296" y="18778"/>
                    <a:pt x="18281" y="17661"/>
                    <a:pt x="19119" y="16360"/>
                  </a:cubicBezTo>
                  <a:lnTo>
                    <a:pt x="16688" y="6"/>
                  </a:lnTo>
                  <a:lnTo>
                    <a:pt x="12579" y="2"/>
                  </a:lnTo>
                  <a:lnTo>
                    <a:pt x="12579" y="4"/>
                  </a:lnTo>
                  <a:cubicBezTo>
                    <a:pt x="12578" y="3"/>
                    <a:pt x="12578" y="3"/>
                    <a:pt x="12577" y="3"/>
                  </a:cubicBezTo>
                  <a:cubicBezTo>
                    <a:pt x="12543" y="0"/>
                    <a:pt x="12503" y="0"/>
                    <a:pt x="12452" y="0"/>
                  </a:cubicBezTo>
                  <a:lnTo>
                    <a:pt x="7327" y="0"/>
                  </a:lnTo>
                  <a:lnTo>
                    <a:pt x="349" y="0"/>
                  </a:lnTo>
                  <a:close/>
                  <a:moveTo>
                    <a:pt x="19119" y="16360"/>
                  </a:moveTo>
                  <a:lnTo>
                    <a:pt x="21600" y="10292"/>
                  </a:lnTo>
                  <a:lnTo>
                    <a:pt x="19119" y="16360"/>
                  </a:ln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55600" tIns="355600" rIns="355600" bIns="355600" anchor="ctr"/>
            <a:lstStyle/>
            <a:p>
              <a:pPr marL="0" marR="0" lvl="0" indent="0" algn="ctr" defTabSz="8255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000">
                  <a:solidFill>
                    <a:srgbClr val="A1D3F8"/>
                  </a:solidFill>
                  <a:latin typeface="Bricolage Grotesque 96pt ExtraBold SemiBold"/>
                  <a:ea typeface="Bricolage Grotesque 96pt ExtraBold SemiBold"/>
                  <a:cs typeface="Bricolage Grotesque 96pt ExtraBold SemiBold"/>
                  <a:sym typeface="Bricolage Grotesque 96pt ExtraBold SemiBold"/>
                </a:defRPr>
              </a:pPr>
              <a:endParaRPr kumimoji="0" sz="4000" b="0" i="0" u="none" strike="noStrike" kern="1200" cap="none" spc="0" normalizeH="0" baseline="0" noProof="0">
                <a:ln>
                  <a:noFill/>
                </a:ln>
                <a:solidFill>
                  <a:srgbClr val="A1D3F8"/>
                </a:solidFill>
                <a:effectLst/>
                <a:uLnTx/>
                <a:uFillTx/>
                <a:latin typeface="Bricolage Grotesque 96pt ExtraBold SemiBold"/>
                <a:sym typeface="Bricolage Grotesque 96pt ExtraBold SemiBold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AB0CC6F-F32D-7A1D-74F7-06B31DE9D28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995282" y="96642"/>
              <a:ext cx="90000" cy="90000"/>
            </a:xfrm>
            <a:prstGeom prst="ellipse">
              <a:avLst/>
            </a:prstGeom>
            <a:solidFill>
              <a:schemeClr val="bg2"/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L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477BE09-7D01-E5E3-9ED2-39ED155B750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5402931" y="6671358"/>
              <a:ext cx="90000" cy="90000"/>
            </a:xfrm>
            <a:prstGeom prst="ellipse">
              <a:avLst/>
            </a:prstGeom>
            <a:solidFill>
              <a:schemeClr val="bg2"/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L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0B19D3-B793-5D2F-7702-A92DB45A86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7953" y="1865012"/>
            <a:ext cx="5248419" cy="286232"/>
          </a:xfrm>
        </p:spPr>
        <p:txBody>
          <a:bodyPr/>
          <a:lstStyle/>
          <a:p>
            <a:r>
              <a:rPr lang="nl-NL"/>
              <a:t> </a:t>
            </a:r>
            <a:endParaRPr lang="en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0767A6-CF79-A8AA-2D81-8FBC1400F7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9827" y="2161320"/>
            <a:ext cx="5888827" cy="1771767"/>
          </a:xfrm>
        </p:spPr>
        <p:txBody>
          <a:bodyPr wrap="square" lIns="91440" tIns="45720" rIns="91440" bIns="45720" anchor="t">
            <a:spAutoFit/>
          </a:bodyPr>
          <a:lstStyle/>
          <a:p>
            <a:r>
              <a:rPr lang="nl-NL" dirty="0">
                <a:latin typeface="Archivo"/>
              </a:rPr>
              <a:t>Introductie</a:t>
            </a:r>
          </a:p>
          <a:p>
            <a:r>
              <a:rPr lang="nl-NL" dirty="0">
                <a:latin typeface="Archivo"/>
              </a:rPr>
              <a:t>Esprit ICT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4996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>
            <a:extLst>
              <a:ext uri="{FF2B5EF4-FFF2-40B4-BE49-F238E27FC236}">
                <a16:creationId xmlns:a16="http://schemas.microsoft.com/office/drawing/2014/main" id="{D38E505B-C394-F3F5-EE59-372EE217D7F4}"/>
              </a:ext>
            </a:extLst>
          </p:cNvPr>
          <p:cNvSpPr/>
          <p:nvPr/>
        </p:nvSpPr>
        <p:spPr>
          <a:xfrm>
            <a:off x="0" y="-138224"/>
            <a:ext cx="12192000" cy="6485019"/>
          </a:xfrm>
          <a:prstGeom prst="rect">
            <a:avLst/>
          </a:prstGeom>
          <a:solidFill>
            <a:srgbClr val="A1D3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ounded Rectangle 1">
            <a:extLst>
              <a:ext uri="{FF2B5EF4-FFF2-40B4-BE49-F238E27FC236}">
                <a16:creationId xmlns:a16="http://schemas.microsoft.com/office/drawing/2014/main" id="{053BC2EF-F37D-9083-C2F4-E23AA86EC6D6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43" name="3">
            <a:extLst>
              <a:ext uri="{FF2B5EF4-FFF2-40B4-BE49-F238E27FC236}">
                <a16:creationId xmlns:a16="http://schemas.microsoft.com/office/drawing/2014/main" id="{984056BE-DF70-2677-BD44-63BB4ADB2914}"/>
              </a:ext>
            </a:extLst>
          </p:cNvPr>
          <p:cNvGrpSpPr/>
          <p:nvPr/>
        </p:nvGrpSpPr>
        <p:grpSpPr>
          <a:xfrm>
            <a:off x="3087811" y="808399"/>
            <a:ext cx="8532649" cy="4605599"/>
            <a:chOff x="3087811" y="808399"/>
            <a:chExt cx="8532649" cy="4605599"/>
          </a:xfrm>
        </p:grpSpPr>
        <p:pic>
          <p:nvPicPr>
            <p:cNvPr id="8" name="Afbeelding 7" descr="Afbeelding met cirkel&#10;&#10;Automatisch gegenereerde beschrijving">
              <a:extLst>
                <a:ext uri="{FF2B5EF4-FFF2-40B4-BE49-F238E27FC236}">
                  <a16:creationId xmlns:a16="http://schemas.microsoft.com/office/drawing/2014/main" id="{B2C0D3AD-D123-471F-78F5-D51AACFA34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09441" y="1426198"/>
              <a:ext cx="3924300" cy="3987800"/>
            </a:xfrm>
            <a:prstGeom prst="rect">
              <a:avLst/>
            </a:prstGeom>
          </p:spPr>
        </p:pic>
        <p:sp>
          <p:nvSpPr>
            <p:cNvPr id="54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73FDC71C-7085-1910-009E-EE2573F2B927}"/>
                </a:ext>
              </a:extLst>
            </p:cNvPr>
            <p:cNvSpPr/>
            <p:nvPr/>
          </p:nvSpPr>
          <p:spPr>
            <a:xfrm>
              <a:off x="8675911" y="905229"/>
              <a:ext cx="2257988" cy="780884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24/7 Monitoring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Beheer: 1e/2e/3e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lijns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support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Skilled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helpdesk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Endpoint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Services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Service Management</a:t>
              </a:r>
            </a:p>
          </p:txBody>
        </p:sp>
        <p:sp>
          <p:nvSpPr>
            <p:cNvPr id="58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AEC618AC-6E07-9D56-8390-3552D8DB4307}"/>
                </a:ext>
              </a:extLst>
            </p:cNvPr>
            <p:cNvSpPr/>
            <p:nvPr/>
          </p:nvSpPr>
          <p:spPr>
            <a:xfrm>
              <a:off x="9362472" y="1953798"/>
              <a:ext cx="2257988" cy="811313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Secure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by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design voor alle producten </a:t>
              </a:r>
              <a:b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</a:b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en diensten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Awareness programma’s,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pentesting</a:t>
              </a:r>
              <a:endPara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SO27001, NIS2, NEN7510, ISAE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Detect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,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dentify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,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Prevent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,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Protect</a:t>
              </a:r>
              <a:endPara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</p:txBody>
        </p:sp>
        <p:sp>
          <p:nvSpPr>
            <p:cNvPr id="31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8C1EA1AF-A9EE-8D47-1D92-9105CBFFB399}"/>
                </a:ext>
              </a:extLst>
            </p:cNvPr>
            <p:cNvSpPr/>
            <p:nvPr/>
          </p:nvSpPr>
          <p:spPr>
            <a:xfrm>
              <a:off x="3087811" y="1883626"/>
              <a:ext cx="2108287" cy="814177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Design, advies, consultancy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mplementatie, installatie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Uitroltrajecten/adoptie/training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Projectmanagement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Tijdelijke inzet van ICT specialisten</a:t>
              </a:r>
            </a:p>
          </p:txBody>
        </p: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C28F3A9B-BD04-5C4A-B7ED-2FD1BB3221D5}"/>
                </a:ext>
              </a:extLst>
            </p:cNvPr>
            <p:cNvGrpSpPr/>
            <p:nvPr/>
          </p:nvGrpSpPr>
          <p:grpSpPr>
            <a:xfrm flipH="1">
              <a:off x="3094271" y="1810878"/>
              <a:ext cx="2771946" cy="364649"/>
              <a:chOff x="2617817" y="1732894"/>
              <a:chExt cx="3153686" cy="414867"/>
            </a:xfrm>
          </p:grpSpPr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5D8FDA41-AE46-7945-E87F-715404CCEA7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617817" y="1732894"/>
                <a:ext cx="514559" cy="414867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Rechte verbindingslijn 26">
                <a:extLst>
                  <a:ext uri="{FF2B5EF4-FFF2-40B4-BE49-F238E27FC236}">
                    <a16:creationId xmlns:a16="http://schemas.microsoft.com/office/drawing/2014/main" id="{EFA2D824-0ED2-BE92-3429-F9214F7B7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28200" y="1732894"/>
                <a:ext cx="2643303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ep 34">
              <a:extLst>
                <a:ext uri="{FF2B5EF4-FFF2-40B4-BE49-F238E27FC236}">
                  <a16:creationId xmlns:a16="http://schemas.microsoft.com/office/drawing/2014/main" id="{52C0616E-3DAF-9E6E-4A6A-D70141483D32}"/>
                </a:ext>
              </a:extLst>
            </p:cNvPr>
            <p:cNvGrpSpPr/>
            <p:nvPr/>
          </p:nvGrpSpPr>
          <p:grpSpPr>
            <a:xfrm>
              <a:off x="8913465" y="1836337"/>
              <a:ext cx="2531580" cy="364649"/>
              <a:chOff x="8667057" y="1662819"/>
              <a:chExt cx="2531580" cy="364649"/>
            </a:xfrm>
          </p:grpSpPr>
          <p:cxnSp>
            <p:nvCxnSpPr>
              <p:cNvPr id="36" name="Rechte verbindingslijn 35">
                <a:extLst>
                  <a:ext uri="{FF2B5EF4-FFF2-40B4-BE49-F238E27FC236}">
                    <a16:creationId xmlns:a16="http://schemas.microsoft.com/office/drawing/2014/main" id="{B34366CC-3ADE-30D9-1C4F-934C5F09E0F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667057" y="1662819"/>
                <a:ext cx="452274" cy="364649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>
                <a:extLst>
                  <a:ext uri="{FF2B5EF4-FFF2-40B4-BE49-F238E27FC236}">
                    <a16:creationId xmlns:a16="http://schemas.microsoft.com/office/drawing/2014/main" id="{34C43B6E-30CF-CC69-7FD3-D30E49ACC1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16064" y="1662819"/>
                <a:ext cx="2082573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ep 37">
              <a:extLst>
                <a:ext uri="{FF2B5EF4-FFF2-40B4-BE49-F238E27FC236}">
                  <a16:creationId xmlns:a16="http://schemas.microsoft.com/office/drawing/2014/main" id="{E2E78B20-19FD-148B-FA38-9578F65E9A46}"/>
                </a:ext>
              </a:extLst>
            </p:cNvPr>
            <p:cNvGrpSpPr/>
            <p:nvPr/>
          </p:nvGrpSpPr>
          <p:grpSpPr>
            <a:xfrm>
              <a:off x="7399105" y="808399"/>
              <a:ext cx="2903354" cy="678980"/>
              <a:chOff x="2282475" y="1732894"/>
              <a:chExt cx="3303190" cy="772486"/>
            </a:xfrm>
          </p:grpSpPr>
          <p:cxnSp>
            <p:nvCxnSpPr>
              <p:cNvPr id="39" name="Rechte verbindingslijn 38">
                <a:extLst>
                  <a:ext uri="{FF2B5EF4-FFF2-40B4-BE49-F238E27FC236}">
                    <a16:creationId xmlns:a16="http://schemas.microsoft.com/office/drawing/2014/main" id="{F811ED18-8434-469E-ED7E-B6DDDB6F6C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28200" y="1732894"/>
                <a:ext cx="245746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Rechte verbindingslijn 39">
                <a:extLst>
                  <a:ext uri="{FF2B5EF4-FFF2-40B4-BE49-F238E27FC236}">
                    <a16:creationId xmlns:a16="http://schemas.microsoft.com/office/drawing/2014/main" id="{51163E0A-8F3D-A694-8A34-D6871D9BA23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82475" y="1732894"/>
                <a:ext cx="849901" cy="772486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2" name="2">
            <a:extLst>
              <a:ext uri="{FF2B5EF4-FFF2-40B4-BE49-F238E27FC236}">
                <a16:creationId xmlns:a16="http://schemas.microsoft.com/office/drawing/2014/main" id="{B29F9546-D3EB-EFF0-F233-BCB3CA44BFC1}"/>
              </a:ext>
            </a:extLst>
          </p:cNvPr>
          <p:cNvGrpSpPr/>
          <p:nvPr/>
        </p:nvGrpSpPr>
        <p:grpSpPr>
          <a:xfrm>
            <a:off x="3072281" y="1426198"/>
            <a:ext cx="8827889" cy="4823778"/>
            <a:chOff x="3072281" y="1426198"/>
            <a:chExt cx="8827889" cy="4823778"/>
          </a:xfrm>
        </p:grpSpPr>
        <p:sp>
          <p:nvSpPr>
            <p:cNvPr id="56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D00BEAD1-A12B-9C29-3404-A61C54048044}"/>
                </a:ext>
              </a:extLst>
            </p:cNvPr>
            <p:cNvSpPr/>
            <p:nvPr/>
          </p:nvSpPr>
          <p:spPr>
            <a:xfrm>
              <a:off x="3072281" y="3538428"/>
              <a:ext cx="2108287" cy="997437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Unified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Communications / UCAAS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Mobiele telefonie inclusief  </a:t>
              </a:r>
              <a:b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</a:b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vast-mobiel integratie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Flexibele (private)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cloud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</a:t>
              </a:r>
              <a:b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</a:b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telefonie  oplossingen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ntegraties met CRM/ERP en </a:t>
              </a:r>
              <a:b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</a:b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TSM applicaties </a:t>
              </a:r>
            </a:p>
          </p:txBody>
        </p:sp>
        <p:sp>
          <p:nvSpPr>
            <p:cNvPr id="50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7499F404-C492-2FF8-9AAA-C9D2DE327226}"/>
                </a:ext>
              </a:extLst>
            </p:cNvPr>
            <p:cNvSpPr/>
            <p:nvPr/>
          </p:nvSpPr>
          <p:spPr>
            <a:xfrm>
              <a:off x="9333741" y="3601089"/>
              <a:ext cx="2566429" cy="643392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Contact Center / Meeting Rooms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(Zorg)alarmering en Persoonsbeveiliging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Medische alarmering en slimmer sensoren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AI,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oT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 en Data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driven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solutions</a:t>
              </a:r>
              <a:endPara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000" b="1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endParaRPr>
            </a:p>
          </p:txBody>
        </p:sp>
        <p:sp>
          <p:nvSpPr>
            <p:cNvPr id="53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3774BD13-960A-D28D-7445-5B54AC76FC64}"/>
                </a:ext>
              </a:extLst>
            </p:cNvPr>
            <p:cNvSpPr/>
            <p:nvPr/>
          </p:nvSpPr>
          <p:spPr>
            <a:xfrm>
              <a:off x="5872803" y="5597827"/>
              <a:ext cx="2797313" cy="652149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Plaats, tijd en device onafhankelijke Digitale Werkplek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Microsoft Office 365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cm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alle hardware en accessoires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Veilig en efficiënt gebruik van applicaties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Selfservice en Service Automation</a:t>
              </a:r>
            </a:p>
          </p:txBody>
        </p:sp>
        <p:pic>
          <p:nvPicPr>
            <p:cNvPr id="6" name="Afbeelding 5" descr="Afbeelding met cirkel, Graphics, ontwerp&#10;&#10;Automatisch gegenereerde beschrijving">
              <a:extLst>
                <a:ext uri="{FF2B5EF4-FFF2-40B4-BE49-F238E27FC236}">
                  <a16:creationId xmlns:a16="http://schemas.microsoft.com/office/drawing/2014/main" id="{AAEB6668-ACE2-397F-C97B-76F72BF65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09441" y="1426198"/>
              <a:ext cx="3924300" cy="3987800"/>
            </a:xfrm>
            <a:prstGeom prst="rect">
              <a:avLst/>
            </a:prstGeom>
          </p:spPr>
        </p:pic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B1F21163-E4E0-0F55-0108-1DCCFA19D74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94271" y="3463927"/>
              <a:ext cx="2566088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Rechte verbindingslijn 9">
              <a:extLst>
                <a:ext uri="{FF2B5EF4-FFF2-40B4-BE49-F238E27FC236}">
                  <a16:creationId xmlns:a16="http://schemas.microsoft.com/office/drawing/2014/main" id="{6080505D-BE2B-D965-5619-A463276CADD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099904" y="3463927"/>
              <a:ext cx="2325714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Rechte verbindingslijn 33">
              <a:extLst>
                <a:ext uri="{FF2B5EF4-FFF2-40B4-BE49-F238E27FC236}">
                  <a16:creationId xmlns:a16="http://schemas.microsoft.com/office/drawing/2014/main" id="{B5E4DC6A-25A3-6114-5F20-52A46153F29F}"/>
                </a:ext>
              </a:extLst>
            </p:cNvPr>
            <p:cNvCxnSpPr>
              <a:cxnSpLocks/>
            </p:cNvCxnSpPr>
            <p:nvPr/>
          </p:nvCxnSpPr>
          <p:spPr>
            <a:xfrm>
              <a:off x="7371591" y="5163090"/>
              <a:ext cx="0" cy="410019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1">
            <a:extLst>
              <a:ext uri="{FF2B5EF4-FFF2-40B4-BE49-F238E27FC236}">
                <a16:creationId xmlns:a16="http://schemas.microsoft.com/office/drawing/2014/main" id="{FDAF24BF-70BD-7C4C-CA1B-68D9C306B79F}"/>
              </a:ext>
            </a:extLst>
          </p:cNvPr>
          <p:cNvGrpSpPr/>
          <p:nvPr/>
        </p:nvGrpSpPr>
        <p:grpSpPr>
          <a:xfrm>
            <a:off x="2945114" y="1426198"/>
            <a:ext cx="8523265" cy="4533715"/>
            <a:chOff x="2945114" y="1426198"/>
            <a:chExt cx="8523265" cy="4533715"/>
          </a:xfrm>
        </p:grpSpPr>
        <p:sp>
          <p:nvSpPr>
            <p:cNvPr id="51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C1673A77-F374-AA67-8824-ECDCEE539AE6}"/>
                </a:ext>
              </a:extLst>
            </p:cNvPr>
            <p:cNvSpPr/>
            <p:nvPr/>
          </p:nvSpPr>
          <p:spPr>
            <a:xfrm>
              <a:off x="8818372" y="5307762"/>
              <a:ext cx="2650007" cy="652151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(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Managed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) LAN/WLAN/Firewall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SD-WAN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Vast en Mobiele spraak- en dataverbindingen in samenwerking met de drie landelijke operators</a:t>
              </a:r>
            </a:p>
          </p:txBody>
        </p:sp>
        <p:sp>
          <p:nvSpPr>
            <p:cNvPr id="32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5A785E57-00C9-11D8-3C9D-08AB9473E530}"/>
                </a:ext>
              </a:extLst>
            </p:cNvPr>
            <p:cNvSpPr/>
            <p:nvPr/>
          </p:nvSpPr>
          <p:spPr>
            <a:xfrm>
              <a:off x="2945114" y="5317398"/>
              <a:ext cx="2650007" cy="606503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Managed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IAAS/Cloud, public/private/hybride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Ontsluiten van Applicaties/Data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Continuïteit (Security,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backup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/storage, disaster recovery)</a:t>
              </a:r>
            </a:p>
          </p:txBody>
        </p:sp>
        <p:pic>
          <p:nvPicPr>
            <p:cNvPr id="4" name="Afbeelding 3" descr="Afbeelding met kleding, Menselijk gezicht, persoon, glimlach&#10;&#10;Automatisch gegenereerde beschrijving">
              <a:extLst>
                <a:ext uri="{FF2B5EF4-FFF2-40B4-BE49-F238E27FC236}">
                  <a16:creationId xmlns:a16="http://schemas.microsoft.com/office/drawing/2014/main" id="{F5361D1D-1DFA-3192-09E8-EAF9B9EBDC3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09441" y="1426198"/>
              <a:ext cx="3924300" cy="3987800"/>
            </a:xfrm>
            <a:prstGeom prst="rect">
              <a:avLst/>
            </a:prstGeom>
          </p:spPr>
        </p:pic>
        <p:grpSp>
          <p:nvGrpSpPr>
            <p:cNvPr id="19" name="Groep 18">
              <a:extLst>
                <a:ext uri="{FF2B5EF4-FFF2-40B4-BE49-F238E27FC236}">
                  <a16:creationId xmlns:a16="http://schemas.microsoft.com/office/drawing/2014/main" id="{B2041EAA-8596-4FC9-062E-462F5602794D}"/>
                </a:ext>
              </a:extLst>
            </p:cNvPr>
            <p:cNvGrpSpPr/>
            <p:nvPr/>
          </p:nvGrpSpPr>
          <p:grpSpPr>
            <a:xfrm flipV="1">
              <a:off x="8016330" y="4474723"/>
              <a:ext cx="3428715" cy="733187"/>
              <a:chOff x="2367849" y="1732894"/>
              <a:chExt cx="3900900" cy="834158"/>
            </a:xfrm>
          </p:grpSpPr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969B450B-049C-D6FF-864A-D607F1C44BD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67849" y="1732894"/>
                <a:ext cx="764527" cy="834158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1F02F1C0-4FD5-9AF6-F5D6-CF386B20423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28199" y="1732894"/>
                <a:ext cx="3140550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ep 21">
              <a:extLst>
                <a:ext uri="{FF2B5EF4-FFF2-40B4-BE49-F238E27FC236}">
                  <a16:creationId xmlns:a16="http://schemas.microsoft.com/office/drawing/2014/main" id="{97702147-D88A-F889-CA38-B3F6FFC6BFF8}"/>
                </a:ext>
              </a:extLst>
            </p:cNvPr>
            <p:cNvGrpSpPr/>
            <p:nvPr/>
          </p:nvGrpSpPr>
          <p:grpSpPr>
            <a:xfrm flipH="1" flipV="1">
              <a:off x="2945114" y="4474722"/>
              <a:ext cx="3820202" cy="733190"/>
              <a:chOff x="1926896" y="1732894"/>
              <a:chExt cx="4346302" cy="834162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57D4708C-A3A3-5FD4-CC39-4291171742C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926896" y="1732894"/>
                <a:ext cx="1205480" cy="834162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073527B9-BDCB-C63E-CC56-87A4031CCC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28200" y="1732894"/>
                <a:ext cx="3144998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err="1"/>
              <a:t>What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3173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EC89347A-E3D1-F5C5-3566-8E3D1B1538FB}"/>
              </a:ext>
            </a:extLst>
          </p:cNvPr>
          <p:cNvSpPr/>
          <p:nvPr/>
        </p:nvSpPr>
        <p:spPr>
          <a:xfrm>
            <a:off x="0" y="0"/>
            <a:ext cx="12192000" cy="6345215"/>
          </a:xfrm>
          <a:prstGeom prst="rect">
            <a:avLst/>
          </a:prstGeom>
          <a:solidFill>
            <a:srgbClr val="A1D3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Rounded Rectangle 1">
            <a:extLst>
              <a:ext uri="{FF2B5EF4-FFF2-40B4-BE49-F238E27FC236}">
                <a16:creationId xmlns:a16="http://schemas.microsoft.com/office/drawing/2014/main" id="{39B030B3-A57B-8408-26FC-108215D50164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43" name="3">
            <a:extLst>
              <a:ext uri="{FF2B5EF4-FFF2-40B4-BE49-F238E27FC236}">
                <a16:creationId xmlns:a16="http://schemas.microsoft.com/office/drawing/2014/main" id="{984056BE-DF70-2677-BD44-63BB4ADB2914}"/>
              </a:ext>
            </a:extLst>
          </p:cNvPr>
          <p:cNvGrpSpPr/>
          <p:nvPr/>
        </p:nvGrpSpPr>
        <p:grpSpPr>
          <a:xfrm>
            <a:off x="3087811" y="808399"/>
            <a:ext cx="8532649" cy="4605599"/>
            <a:chOff x="3087811" y="808399"/>
            <a:chExt cx="8532649" cy="4605599"/>
          </a:xfrm>
        </p:grpSpPr>
        <p:pic>
          <p:nvPicPr>
            <p:cNvPr id="8" name="Afbeelding 7" descr="Afbeelding met cirkel&#10;&#10;Automatisch gegenereerde beschrijving">
              <a:extLst>
                <a:ext uri="{FF2B5EF4-FFF2-40B4-BE49-F238E27FC236}">
                  <a16:creationId xmlns:a16="http://schemas.microsoft.com/office/drawing/2014/main" id="{B2C0D3AD-D123-471F-78F5-D51AACFA34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09441" y="1426198"/>
              <a:ext cx="3924300" cy="3987800"/>
            </a:xfrm>
            <a:prstGeom prst="rect">
              <a:avLst/>
            </a:prstGeom>
          </p:spPr>
        </p:pic>
        <p:sp>
          <p:nvSpPr>
            <p:cNvPr id="54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73FDC71C-7085-1910-009E-EE2573F2B927}"/>
                </a:ext>
              </a:extLst>
            </p:cNvPr>
            <p:cNvSpPr/>
            <p:nvPr/>
          </p:nvSpPr>
          <p:spPr>
            <a:xfrm>
              <a:off x="8675911" y="905229"/>
              <a:ext cx="2257988" cy="780884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24/7 Monitoring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Beheer: 1e/2e/3e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lijns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support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Skilled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helpdesk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Endpoint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Services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Service Management</a:t>
              </a:r>
            </a:p>
          </p:txBody>
        </p:sp>
        <p:sp>
          <p:nvSpPr>
            <p:cNvPr id="58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AEC618AC-6E07-9D56-8390-3552D8DB4307}"/>
                </a:ext>
              </a:extLst>
            </p:cNvPr>
            <p:cNvSpPr/>
            <p:nvPr/>
          </p:nvSpPr>
          <p:spPr>
            <a:xfrm>
              <a:off x="9362472" y="1953798"/>
              <a:ext cx="2257988" cy="811313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Secure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by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design voor alle producten en diensten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Awareness programma’s,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pentesting</a:t>
              </a:r>
              <a:endPara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SO27001, NIS2, NEN7510, ISAE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Detect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,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dentify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,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Prevent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,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Protect</a:t>
              </a:r>
              <a:endPara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</p:txBody>
        </p:sp>
        <p:sp>
          <p:nvSpPr>
            <p:cNvPr id="31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8C1EA1AF-A9EE-8D47-1D92-9105CBFFB399}"/>
                </a:ext>
              </a:extLst>
            </p:cNvPr>
            <p:cNvSpPr/>
            <p:nvPr/>
          </p:nvSpPr>
          <p:spPr>
            <a:xfrm>
              <a:off x="3087811" y="1883626"/>
              <a:ext cx="2108287" cy="814177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Design, advies, consultancy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mplementatie, installatie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Uitroltrajecten/adoptie/training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Projectmanagement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Tijdelijke inzet van ICT specialisten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</p:txBody>
        </p: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C28F3A9B-BD04-5C4A-B7ED-2FD1BB3221D5}"/>
                </a:ext>
              </a:extLst>
            </p:cNvPr>
            <p:cNvGrpSpPr/>
            <p:nvPr/>
          </p:nvGrpSpPr>
          <p:grpSpPr>
            <a:xfrm flipH="1">
              <a:off x="3094271" y="1810878"/>
              <a:ext cx="2771946" cy="364649"/>
              <a:chOff x="2617817" y="1732894"/>
              <a:chExt cx="3153686" cy="414867"/>
            </a:xfrm>
          </p:grpSpPr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5D8FDA41-AE46-7945-E87F-715404CCEA7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617817" y="1732894"/>
                <a:ext cx="514559" cy="414867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Rechte verbindingslijn 26">
                <a:extLst>
                  <a:ext uri="{FF2B5EF4-FFF2-40B4-BE49-F238E27FC236}">
                    <a16:creationId xmlns:a16="http://schemas.microsoft.com/office/drawing/2014/main" id="{EFA2D824-0ED2-BE92-3429-F9214F7B7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28200" y="1732894"/>
                <a:ext cx="2643303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ep 34">
              <a:extLst>
                <a:ext uri="{FF2B5EF4-FFF2-40B4-BE49-F238E27FC236}">
                  <a16:creationId xmlns:a16="http://schemas.microsoft.com/office/drawing/2014/main" id="{52C0616E-3DAF-9E6E-4A6A-D70141483D32}"/>
                </a:ext>
              </a:extLst>
            </p:cNvPr>
            <p:cNvGrpSpPr/>
            <p:nvPr/>
          </p:nvGrpSpPr>
          <p:grpSpPr>
            <a:xfrm>
              <a:off x="8913465" y="1836337"/>
              <a:ext cx="2531580" cy="364649"/>
              <a:chOff x="8667057" y="1662819"/>
              <a:chExt cx="2531580" cy="364649"/>
            </a:xfrm>
          </p:grpSpPr>
          <p:cxnSp>
            <p:nvCxnSpPr>
              <p:cNvPr id="36" name="Rechte verbindingslijn 35">
                <a:extLst>
                  <a:ext uri="{FF2B5EF4-FFF2-40B4-BE49-F238E27FC236}">
                    <a16:creationId xmlns:a16="http://schemas.microsoft.com/office/drawing/2014/main" id="{B34366CC-3ADE-30D9-1C4F-934C5F09E0F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667057" y="1662819"/>
                <a:ext cx="452274" cy="364649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>
                <a:extLst>
                  <a:ext uri="{FF2B5EF4-FFF2-40B4-BE49-F238E27FC236}">
                    <a16:creationId xmlns:a16="http://schemas.microsoft.com/office/drawing/2014/main" id="{34C43B6E-30CF-CC69-7FD3-D30E49ACC1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16064" y="1662819"/>
                <a:ext cx="2082573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ep 37">
              <a:extLst>
                <a:ext uri="{FF2B5EF4-FFF2-40B4-BE49-F238E27FC236}">
                  <a16:creationId xmlns:a16="http://schemas.microsoft.com/office/drawing/2014/main" id="{E2E78B20-19FD-148B-FA38-9578F65E9A46}"/>
                </a:ext>
              </a:extLst>
            </p:cNvPr>
            <p:cNvGrpSpPr/>
            <p:nvPr/>
          </p:nvGrpSpPr>
          <p:grpSpPr>
            <a:xfrm>
              <a:off x="7399105" y="808399"/>
              <a:ext cx="2903354" cy="678980"/>
              <a:chOff x="2282475" y="1732894"/>
              <a:chExt cx="3303190" cy="772486"/>
            </a:xfrm>
          </p:grpSpPr>
          <p:cxnSp>
            <p:nvCxnSpPr>
              <p:cNvPr id="39" name="Rechte verbindingslijn 38">
                <a:extLst>
                  <a:ext uri="{FF2B5EF4-FFF2-40B4-BE49-F238E27FC236}">
                    <a16:creationId xmlns:a16="http://schemas.microsoft.com/office/drawing/2014/main" id="{F811ED18-8434-469E-ED7E-B6DDDB6F6C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28200" y="1732894"/>
                <a:ext cx="245746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Rechte verbindingslijn 39">
                <a:extLst>
                  <a:ext uri="{FF2B5EF4-FFF2-40B4-BE49-F238E27FC236}">
                    <a16:creationId xmlns:a16="http://schemas.microsoft.com/office/drawing/2014/main" id="{51163E0A-8F3D-A694-8A34-D6871D9BA23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82475" y="1732894"/>
                <a:ext cx="849901" cy="772486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2" name="2">
            <a:extLst>
              <a:ext uri="{FF2B5EF4-FFF2-40B4-BE49-F238E27FC236}">
                <a16:creationId xmlns:a16="http://schemas.microsoft.com/office/drawing/2014/main" id="{B29F9546-D3EB-EFF0-F233-BCB3CA44BFC1}"/>
              </a:ext>
            </a:extLst>
          </p:cNvPr>
          <p:cNvGrpSpPr/>
          <p:nvPr/>
        </p:nvGrpSpPr>
        <p:grpSpPr>
          <a:xfrm>
            <a:off x="3072281" y="1426198"/>
            <a:ext cx="8827889" cy="4823778"/>
            <a:chOff x="3072281" y="1426198"/>
            <a:chExt cx="8827889" cy="4823778"/>
          </a:xfrm>
        </p:grpSpPr>
        <p:sp>
          <p:nvSpPr>
            <p:cNvPr id="56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D00BEAD1-A12B-9C29-3404-A61C54048044}"/>
                </a:ext>
              </a:extLst>
            </p:cNvPr>
            <p:cNvSpPr/>
            <p:nvPr/>
          </p:nvSpPr>
          <p:spPr>
            <a:xfrm>
              <a:off x="3072281" y="3538428"/>
              <a:ext cx="2108287" cy="997437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Unified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Communications / UCAAS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Mobiele telefonie inclusief  </a:t>
              </a:r>
              <a:b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</a:b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vast-mobiel integratie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Flexibele (private)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cloud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</a:t>
              </a:r>
              <a:b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</a:b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telefonie  oplossingen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ntegraties met CRM/ERP en </a:t>
              </a:r>
              <a:b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</a:b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TSM applicaties </a:t>
              </a:r>
            </a:p>
          </p:txBody>
        </p:sp>
        <p:sp>
          <p:nvSpPr>
            <p:cNvPr id="50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7499F404-C492-2FF8-9AAA-C9D2DE327226}"/>
                </a:ext>
              </a:extLst>
            </p:cNvPr>
            <p:cNvSpPr/>
            <p:nvPr/>
          </p:nvSpPr>
          <p:spPr>
            <a:xfrm>
              <a:off x="9333741" y="3601089"/>
              <a:ext cx="2566429" cy="643392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Persoonsalarmering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Zorgalarmering (VOS/MOS/MAS)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Zorgdomotica</a:t>
              </a:r>
              <a:endPara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AI,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oT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 en Data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driven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solutions</a:t>
              </a:r>
              <a:endPara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endParaRPr>
            </a:p>
          </p:txBody>
        </p:sp>
        <p:sp>
          <p:nvSpPr>
            <p:cNvPr id="53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3774BD13-960A-D28D-7445-5B54AC76FC64}"/>
                </a:ext>
              </a:extLst>
            </p:cNvPr>
            <p:cNvSpPr/>
            <p:nvPr/>
          </p:nvSpPr>
          <p:spPr>
            <a:xfrm>
              <a:off x="5872803" y="5597827"/>
              <a:ext cx="2797313" cy="652149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Plaats, tijd en device onafhankelijke Digitale Werkplek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Microsoft Office 365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icm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alle hardware en accessoires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Veilig en efficiënt gebruik van applicaties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Selfservice en Service Automation</a:t>
              </a:r>
            </a:p>
          </p:txBody>
        </p:sp>
        <p:pic>
          <p:nvPicPr>
            <p:cNvPr id="6" name="Afbeelding 5" descr="Afbeelding met cirkel, Graphics, ontwerp&#10;&#10;Automatisch gegenereerde beschrijving">
              <a:extLst>
                <a:ext uri="{FF2B5EF4-FFF2-40B4-BE49-F238E27FC236}">
                  <a16:creationId xmlns:a16="http://schemas.microsoft.com/office/drawing/2014/main" id="{AAEB6668-ACE2-397F-C97B-76F72BF65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09441" y="1426198"/>
              <a:ext cx="3924300" cy="3987800"/>
            </a:xfrm>
            <a:prstGeom prst="rect">
              <a:avLst/>
            </a:prstGeom>
          </p:spPr>
        </p:pic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B1F21163-E4E0-0F55-0108-1DCCFA19D74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94271" y="3463927"/>
              <a:ext cx="2566088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Rechte verbindingslijn 9">
              <a:extLst>
                <a:ext uri="{FF2B5EF4-FFF2-40B4-BE49-F238E27FC236}">
                  <a16:creationId xmlns:a16="http://schemas.microsoft.com/office/drawing/2014/main" id="{6080505D-BE2B-D965-5619-A463276CADD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099904" y="3463927"/>
              <a:ext cx="2325714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Rechte verbindingslijn 33">
              <a:extLst>
                <a:ext uri="{FF2B5EF4-FFF2-40B4-BE49-F238E27FC236}">
                  <a16:creationId xmlns:a16="http://schemas.microsoft.com/office/drawing/2014/main" id="{B5E4DC6A-25A3-6114-5F20-52A46153F29F}"/>
                </a:ext>
              </a:extLst>
            </p:cNvPr>
            <p:cNvCxnSpPr>
              <a:cxnSpLocks/>
            </p:cNvCxnSpPr>
            <p:nvPr/>
          </p:nvCxnSpPr>
          <p:spPr>
            <a:xfrm>
              <a:off x="7371591" y="5163090"/>
              <a:ext cx="0" cy="410019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1">
            <a:extLst>
              <a:ext uri="{FF2B5EF4-FFF2-40B4-BE49-F238E27FC236}">
                <a16:creationId xmlns:a16="http://schemas.microsoft.com/office/drawing/2014/main" id="{FDAF24BF-70BD-7C4C-CA1B-68D9C306B79F}"/>
              </a:ext>
            </a:extLst>
          </p:cNvPr>
          <p:cNvGrpSpPr/>
          <p:nvPr/>
        </p:nvGrpSpPr>
        <p:grpSpPr>
          <a:xfrm>
            <a:off x="2945114" y="1426198"/>
            <a:ext cx="8523265" cy="4533715"/>
            <a:chOff x="2945114" y="1426198"/>
            <a:chExt cx="8523265" cy="4533715"/>
          </a:xfrm>
        </p:grpSpPr>
        <p:sp>
          <p:nvSpPr>
            <p:cNvPr id="51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C1673A77-F374-AA67-8824-ECDCEE539AE6}"/>
                </a:ext>
              </a:extLst>
            </p:cNvPr>
            <p:cNvSpPr/>
            <p:nvPr/>
          </p:nvSpPr>
          <p:spPr>
            <a:xfrm>
              <a:off x="8818372" y="5307762"/>
              <a:ext cx="2650007" cy="652151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(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Managed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) LAN/WLAN/Firewall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SD-WAN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Vast en Mobiele spraak- en dataverbindingen in samenwerking met de drie landelijke operators</a:t>
              </a:r>
            </a:p>
          </p:txBody>
        </p:sp>
        <p:sp>
          <p:nvSpPr>
            <p:cNvPr id="32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5A785E57-00C9-11D8-3C9D-08AB9473E530}"/>
                </a:ext>
              </a:extLst>
            </p:cNvPr>
            <p:cNvSpPr/>
            <p:nvPr/>
          </p:nvSpPr>
          <p:spPr>
            <a:xfrm>
              <a:off x="2945114" y="5317398"/>
              <a:ext cx="2650007" cy="606503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Managed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 IAAS/Cloud, public/private/hybride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Ontsluiten van Applicaties/Data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Continuïteit (Security, </a:t>
              </a:r>
              <a:r>
                <a:rPr kumimoji="0" lang="nl-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backup</a:t>
              </a:r>
              <a:r>
                <a: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 ExtraBold" panose="020B0502040504020204" pitchFamily="34" charset="0"/>
                  <a:ea typeface="Noto Sans ExtraBold" panose="020B0502040504020204" pitchFamily="34" charset="0"/>
                  <a:cs typeface="Noto Sans ExtraBold" panose="020B0502040504020204" pitchFamily="34" charset="0"/>
                </a:rPr>
                <a:t>/storage, disaster recovery)</a:t>
              </a:r>
            </a:p>
          </p:txBody>
        </p:sp>
        <p:pic>
          <p:nvPicPr>
            <p:cNvPr id="4" name="Afbeelding 3">
              <a:extLst>
                <a:ext uri="{FF2B5EF4-FFF2-40B4-BE49-F238E27FC236}">
                  <a16:creationId xmlns:a16="http://schemas.microsoft.com/office/drawing/2014/main" id="{F5361D1D-1DFA-3192-09E8-EAF9B9EBDC3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441" y="1426198"/>
              <a:ext cx="3924300" cy="3987799"/>
            </a:xfrm>
            <a:prstGeom prst="rect">
              <a:avLst/>
            </a:prstGeom>
          </p:spPr>
        </p:pic>
        <p:grpSp>
          <p:nvGrpSpPr>
            <p:cNvPr id="19" name="Groep 18">
              <a:extLst>
                <a:ext uri="{FF2B5EF4-FFF2-40B4-BE49-F238E27FC236}">
                  <a16:creationId xmlns:a16="http://schemas.microsoft.com/office/drawing/2014/main" id="{B2041EAA-8596-4FC9-062E-462F5602794D}"/>
                </a:ext>
              </a:extLst>
            </p:cNvPr>
            <p:cNvGrpSpPr/>
            <p:nvPr/>
          </p:nvGrpSpPr>
          <p:grpSpPr>
            <a:xfrm flipV="1">
              <a:off x="8016330" y="4474723"/>
              <a:ext cx="3428715" cy="733187"/>
              <a:chOff x="2367849" y="1732894"/>
              <a:chExt cx="3900900" cy="834158"/>
            </a:xfrm>
          </p:grpSpPr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969B450B-049C-D6FF-864A-D607F1C44BD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67849" y="1732894"/>
                <a:ext cx="764527" cy="834158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1F02F1C0-4FD5-9AF6-F5D6-CF386B20423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28199" y="1732894"/>
                <a:ext cx="3140550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ep 21">
              <a:extLst>
                <a:ext uri="{FF2B5EF4-FFF2-40B4-BE49-F238E27FC236}">
                  <a16:creationId xmlns:a16="http://schemas.microsoft.com/office/drawing/2014/main" id="{97702147-D88A-F889-CA38-B3F6FFC6BFF8}"/>
                </a:ext>
              </a:extLst>
            </p:cNvPr>
            <p:cNvGrpSpPr/>
            <p:nvPr/>
          </p:nvGrpSpPr>
          <p:grpSpPr>
            <a:xfrm flipH="1" flipV="1">
              <a:off x="2945114" y="4474722"/>
              <a:ext cx="3820202" cy="733190"/>
              <a:chOff x="1926896" y="1732894"/>
              <a:chExt cx="4346302" cy="834162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57D4708C-A3A3-5FD4-CC39-4291171742C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926896" y="1732894"/>
                <a:ext cx="1205480" cy="834162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073527B9-BDCB-C63E-CC56-87A4031CCC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28200" y="1732894"/>
                <a:ext cx="3144998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err="1"/>
              <a:t>What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23213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2EE71B9-AB36-8C65-C322-EB5418A958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5605" y="1144740"/>
            <a:ext cx="5296545" cy="867930"/>
          </a:xfrm>
        </p:spPr>
        <p:txBody>
          <a:bodyPr/>
          <a:lstStyle/>
          <a:p>
            <a:r>
              <a:rPr lang="nl-NL" dirty="0"/>
              <a:t>Sectoren</a:t>
            </a:r>
          </a:p>
        </p:txBody>
      </p:sp>
    </p:spTree>
    <p:extLst>
      <p:ext uri="{BB962C8B-B14F-4D97-AF65-F5344CB8AC3E}">
        <p14:creationId xmlns:p14="http://schemas.microsoft.com/office/powerpoint/2010/main" val="159726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908E3F1F-6BBF-5F2B-D71E-D5A1E3F9B24A}"/>
              </a:ext>
            </a:extLst>
          </p:cNvPr>
          <p:cNvSpPr/>
          <p:nvPr/>
        </p:nvSpPr>
        <p:spPr>
          <a:xfrm>
            <a:off x="0" y="-80707"/>
            <a:ext cx="12192000" cy="6416724"/>
          </a:xfrm>
          <a:prstGeom prst="rect">
            <a:avLst/>
          </a:prstGeom>
          <a:solidFill>
            <a:srgbClr val="18611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2FB93844-EBD6-8F84-C23B-A006495B560E}"/>
              </a:ext>
            </a:extLst>
          </p:cNvPr>
          <p:cNvSpPr/>
          <p:nvPr/>
        </p:nvSpPr>
        <p:spPr>
          <a:xfrm>
            <a:off x="257452" y="284080"/>
            <a:ext cx="11699196" cy="6045694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Rounded Rectangle 1">
            <a:extLst>
              <a:ext uri="{FF2B5EF4-FFF2-40B4-BE49-F238E27FC236}">
                <a16:creationId xmlns:a16="http://schemas.microsoft.com/office/drawing/2014/main" id="{A8E32F09-3419-33C7-D7FD-3EEB03CAE7F8}"/>
              </a:ext>
            </a:extLst>
          </p:cNvPr>
          <p:cNvSpPr/>
          <p:nvPr/>
        </p:nvSpPr>
        <p:spPr>
          <a:xfrm>
            <a:off x="721194" y="2483646"/>
            <a:ext cx="2073888" cy="432000"/>
          </a:xfrm>
          <a:prstGeom prst="roundRect">
            <a:avLst>
              <a:gd name="adj" fmla="val 2779"/>
            </a:avLst>
          </a:prstGeom>
          <a:solidFill>
            <a:srgbClr val="E2F8A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ounded Rectangle 1">
            <a:extLst>
              <a:ext uri="{FF2B5EF4-FFF2-40B4-BE49-F238E27FC236}">
                <a16:creationId xmlns:a16="http://schemas.microsoft.com/office/drawing/2014/main" id="{AD8D9803-D07F-144D-B2C9-E0CDF9A2A556}"/>
              </a:ext>
            </a:extLst>
          </p:cNvPr>
          <p:cNvSpPr/>
          <p:nvPr/>
        </p:nvSpPr>
        <p:spPr>
          <a:xfrm>
            <a:off x="721194" y="3132157"/>
            <a:ext cx="2073888" cy="432000"/>
          </a:xfrm>
          <a:prstGeom prst="roundRect">
            <a:avLst>
              <a:gd name="adj" fmla="val 2779"/>
            </a:avLst>
          </a:prstGeom>
          <a:solidFill>
            <a:srgbClr val="E2F8A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ounded Rectangle 1">
            <a:extLst>
              <a:ext uri="{FF2B5EF4-FFF2-40B4-BE49-F238E27FC236}">
                <a16:creationId xmlns:a16="http://schemas.microsoft.com/office/drawing/2014/main" id="{597F9135-DE6D-58F9-5337-97FFBAA45189}"/>
              </a:ext>
            </a:extLst>
          </p:cNvPr>
          <p:cNvSpPr/>
          <p:nvPr/>
        </p:nvSpPr>
        <p:spPr>
          <a:xfrm>
            <a:off x="721194" y="3780667"/>
            <a:ext cx="2073888" cy="432000"/>
          </a:xfrm>
          <a:prstGeom prst="roundRect">
            <a:avLst>
              <a:gd name="adj" fmla="val 2779"/>
            </a:avLst>
          </a:prstGeom>
          <a:solidFill>
            <a:srgbClr val="E2F8A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186117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Rounded Rectangle 1">
            <a:extLst>
              <a:ext uri="{FF2B5EF4-FFF2-40B4-BE49-F238E27FC236}">
                <a16:creationId xmlns:a16="http://schemas.microsoft.com/office/drawing/2014/main" id="{71F8C266-7061-509D-1B57-CEF17431BC65}"/>
              </a:ext>
            </a:extLst>
          </p:cNvPr>
          <p:cNvSpPr/>
          <p:nvPr/>
        </p:nvSpPr>
        <p:spPr>
          <a:xfrm>
            <a:off x="721194" y="1835136"/>
            <a:ext cx="2073888" cy="432000"/>
          </a:xfrm>
          <a:prstGeom prst="roundRect">
            <a:avLst>
              <a:gd name="adj" fmla="val 2779"/>
            </a:avLst>
          </a:prstGeom>
          <a:solidFill>
            <a:srgbClr val="E2F8A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1" name="Tijdelijke aanduiding voor afbeelding 80" descr="Afbeelding met kleding, persoon, overdekt, Witte jas&#10;&#10;Automatisch gegenereerde beschrijving">
            <a:extLst>
              <a:ext uri="{FF2B5EF4-FFF2-40B4-BE49-F238E27FC236}">
                <a16:creationId xmlns:a16="http://schemas.microsoft.com/office/drawing/2014/main" id="{A39AB064-B190-A7FE-C528-CE381507447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71925" y="487542"/>
            <a:ext cx="1983600" cy="561657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1" name="Tijdelijke aanduiding voor afbeelding 60" descr="Afbeelding met persoon, overdekt, kleding, muur&#10;&#10;Automatisch gegenereerde beschrijving">
            <a:extLst>
              <a:ext uri="{FF2B5EF4-FFF2-40B4-BE49-F238E27FC236}">
                <a16:creationId xmlns:a16="http://schemas.microsoft.com/office/drawing/2014/main" id="{8523FE44-5ED6-DDDD-4CD4-E3F18CA4894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79393" y="487542"/>
            <a:ext cx="1983600" cy="561657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3" name="Tijdelijke aanduiding voor afbeelding 62" descr="Afbeelding met gebouw, kleding, persoon, buitenshuis&#10;&#10;Automatisch gegenereerde beschrijving">
            <a:extLst>
              <a:ext uri="{FF2B5EF4-FFF2-40B4-BE49-F238E27FC236}">
                <a16:creationId xmlns:a16="http://schemas.microsoft.com/office/drawing/2014/main" id="{BC58F0FC-AB39-49E8-35EE-C704B65E0571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4" r="-64"/>
          <a:stretch/>
        </p:blipFill>
        <p:spPr>
          <a:xfrm>
            <a:off x="3031562" y="503093"/>
            <a:ext cx="1983600" cy="561657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5" name="Tijdelijke aanduiding voor afbeelding 64" descr="Afbeelding met kleding, persoon, person, overdekt&#10;&#10;Automatisch gegenereerde beschrijving">
            <a:extLst>
              <a:ext uri="{FF2B5EF4-FFF2-40B4-BE49-F238E27FC236}">
                <a16:creationId xmlns:a16="http://schemas.microsoft.com/office/drawing/2014/main" id="{B7D98CE9-F144-7788-CDFA-04B3EABB41E5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76733" y="479451"/>
            <a:ext cx="1983600" cy="5640217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443" y="958630"/>
            <a:ext cx="3351532" cy="646331"/>
          </a:xfrm>
        </p:spPr>
        <p:txBody>
          <a:bodyPr/>
          <a:lstStyle/>
          <a:p>
            <a:r>
              <a:rPr lang="nl-NL" err="1"/>
              <a:t>Who</a:t>
            </a:r>
            <a:endParaRPr lang="nl-NL"/>
          </a:p>
        </p:txBody>
      </p:sp>
      <p:sp>
        <p:nvSpPr>
          <p:cNvPr id="82" name="Tijdelijke aanduiding voor tekst 5">
            <a:extLst>
              <a:ext uri="{FF2B5EF4-FFF2-40B4-BE49-F238E27FC236}">
                <a16:creationId xmlns:a16="http://schemas.microsoft.com/office/drawing/2014/main" id="{81462957-654E-FCFA-6007-58DB491263C4}"/>
              </a:ext>
            </a:extLst>
          </p:cNvPr>
          <p:cNvSpPr txBox="1">
            <a:spLocks/>
          </p:cNvSpPr>
          <p:nvPr/>
        </p:nvSpPr>
        <p:spPr>
          <a:xfrm>
            <a:off x="1047824" y="1862711"/>
            <a:ext cx="3351532" cy="40993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Bedrijfsleven </a:t>
            </a:r>
            <a:b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</a:b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(Corporate &amp; MKB)</a:t>
            </a:r>
          </a:p>
        </p:txBody>
      </p:sp>
      <p:sp>
        <p:nvSpPr>
          <p:cNvPr id="83" name="Oval 12">
            <a:extLst>
              <a:ext uri="{FF2B5EF4-FFF2-40B4-BE49-F238E27FC236}">
                <a16:creationId xmlns:a16="http://schemas.microsoft.com/office/drawing/2014/main" id="{AE4D5D3C-422B-65A4-2312-A6E8BDFBFB09}"/>
              </a:ext>
            </a:extLst>
          </p:cNvPr>
          <p:cNvSpPr>
            <a:spLocks noChangeAspect="1"/>
          </p:cNvSpPr>
          <p:nvPr/>
        </p:nvSpPr>
        <p:spPr>
          <a:xfrm>
            <a:off x="523732" y="1840641"/>
            <a:ext cx="432000" cy="432000"/>
          </a:xfrm>
          <a:prstGeom prst="ellipse">
            <a:avLst/>
          </a:prstGeom>
          <a:solidFill>
            <a:srgbClr val="186117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1</a:t>
            </a:r>
          </a:p>
        </p:txBody>
      </p:sp>
      <p:sp>
        <p:nvSpPr>
          <p:cNvPr id="84" name="Oval 13">
            <a:extLst>
              <a:ext uri="{FF2B5EF4-FFF2-40B4-BE49-F238E27FC236}">
                <a16:creationId xmlns:a16="http://schemas.microsoft.com/office/drawing/2014/main" id="{48B8AE87-9C1C-948E-E74B-28B88E707AEA}"/>
              </a:ext>
            </a:extLst>
          </p:cNvPr>
          <p:cNvSpPr>
            <a:spLocks noChangeAspect="1"/>
          </p:cNvSpPr>
          <p:nvPr/>
        </p:nvSpPr>
        <p:spPr>
          <a:xfrm>
            <a:off x="523732" y="2489379"/>
            <a:ext cx="432000" cy="432000"/>
          </a:xfrm>
          <a:prstGeom prst="ellipse">
            <a:avLst/>
          </a:prstGeom>
          <a:solidFill>
            <a:srgbClr val="186117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2</a:t>
            </a:r>
          </a:p>
        </p:txBody>
      </p:sp>
      <p:sp>
        <p:nvSpPr>
          <p:cNvPr id="85" name="Oval 18">
            <a:extLst>
              <a:ext uri="{FF2B5EF4-FFF2-40B4-BE49-F238E27FC236}">
                <a16:creationId xmlns:a16="http://schemas.microsoft.com/office/drawing/2014/main" id="{4B3864BE-E731-E611-582B-7AF9D92BCEAC}"/>
              </a:ext>
            </a:extLst>
          </p:cNvPr>
          <p:cNvSpPr>
            <a:spLocks noChangeAspect="1"/>
          </p:cNvSpPr>
          <p:nvPr/>
        </p:nvSpPr>
        <p:spPr>
          <a:xfrm>
            <a:off x="523732" y="3786855"/>
            <a:ext cx="432000" cy="432000"/>
          </a:xfrm>
          <a:prstGeom prst="ellipse">
            <a:avLst/>
          </a:prstGeom>
          <a:solidFill>
            <a:srgbClr val="186117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4</a:t>
            </a:r>
          </a:p>
        </p:txBody>
      </p:sp>
      <p:sp>
        <p:nvSpPr>
          <p:cNvPr id="86" name="Oval 19">
            <a:extLst>
              <a:ext uri="{FF2B5EF4-FFF2-40B4-BE49-F238E27FC236}">
                <a16:creationId xmlns:a16="http://schemas.microsoft.com/office/drawing/2014/main" id="{85B40190-8649-7A96-960F-9E16C0120094}"/>
              </a:ext>
            </a:extLst>
          </p:cNvPr>
          <p:cNvSpPr>
            <a:spLocks noChangeAspect="1"/>
          </p:cNvSpPr>
          <p:nvPr/>
        </p:nvSpPr>
        <p:spPr>
          <a:xfrm>
            <a:off x="523732" y="3138117"/>
            <a:ext cx="432000" cy="432000"/>
          </a:xfrm>
          <a:prstGeom prst="ellipse">
            <a:avLst/>
          </a:prstGeom>
          <a:solidFill>
            <a:srgbClr val="186117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3</a:t>
            </a:r>
          </a:p>
        </p:txBody>
      </p:sp>
      <p:sp>
        <p:nvSpPr>
          <p:cNvPr id="87" name="Tijdelijke aanduiding voor tekst 5">
            <a:extLst>
              <a:ext uri="{FF2B5EF4-FFF2-40B4-BE49-F238E27FC236}">
                <a16:creationId xmlns:a16="http://schemas.microsoft.com/office/drawing/2014/main" id="{0B7730EC-A4F1-B37D-6A00-82AB9BB682C3}"/>
              </a:ext>
            </a:extLst>
          </p:cNvPr>
          <p:cNvSpPr txBox="1">
            <a:spLocks/>
          </p:cNvSpPr>
          <p:nvPr/>
        </p:nvSpPr>
        <p:spPr>
          <a:xfrm>
            <a:off x="1047824" y="2498574"/>
            <a:ext cx="3351532" cy="4099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Healthcare </a:t>
            </a:r>
            <a:b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</a:b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(Care &amp; Cure)</a:t>
            </a:r>
          </a:p>
        </p:txBody>
      </p:sp>
      <p:sp>
        <p:nvSpPr>
          <p:cNvPr id="88" name="Tijdelijke aanduiding voor tekst 5">
            <a:extLst>
              <a:ext uri="{FF2B5EF4-FFF2-40B4-BE49-F238E27FC236}">
                <a16:creationId xmlns:a16="http://schemas.microsoft.com/office/drawing/2014/main" id="{4220AD22-DF58-EF6A-4867-2C3659D37EAB}"/>
              </a:ext>
            </a:extLst>
          </p:cNvPr>
          <p:cNvSpPr txBox="1">
            <a:spLocks/>
          </p:cNvSpPr>
          <p:nvPr/>
        </p:nvSpPr>
        <p:spPr>
          <a:xfrm>
            <a:off x="1047824" y="3130747"/>
            <a:ext cx="3351532" cy="4099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Public</a:t>
            </a:r>
            <a:b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</a:b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Overheid en </a:t>
            </a:r>
            <a:r>
              <a:rPr kumimoji="0" lang="nl-NL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semi-overheid</a:t>
            </a: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)</a:t>
            </a:r>
          </a:p>
        </p:txBody>
      </p:sp>
      <p:sp>
        <p:nvSpPr>
          <p:cNvPr id="89" name="Tijdelijke aanduiding voor tekst 5">
            <a:extLst>
              <a:ext uri="{FF2B5EF4-FFF2-40B4-BE49-F238E27FC236}">
                <a16:creationId xmlns:a16="http://schemas.microsoft.com/office/drawing/2014/main" id="{0CCF8886-265A-A85C-67D4-9227CB2517F3}"/>
              </a:ext>
            </a:extLst>
          </p:cNvPr>
          <p:cNvSpPr txBox="1">
            <a:spLocks/>
          </p:cNvSpPr>
          <p:nvPr/>
        </p:nvSpPr>
        <p:spPr>
          <a:xfrm>
            <a:off x="1047824" y="3879287"/>
            <a:ext cx="3351532" cy="4099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Industrie</a:t>
            </a:r>
            <a:b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</a:br>
            <a:endParaRPr kumimoji="0" lang="nl-NL" sz="1000" b="0" i="0" u="none" strike="noStrike" kern="1200" cap="none" spc="0" normalizeH="0" baseline="0" noProof="0" dirty="0">
              <a:ln>
                <a:noFill/>
              </a:ln>
              <a:solidFill>
                <a:srgbClr val="186117"/>
              </a:solidFill>
              <a:effectLst/>
              <a:uLnTx/>
              <a:uFillTx/>
              <a:latin typeface="Noto Sans ExtraBold" panose="020B0502040504020204" pitchFamily="34" charset="0"/>
              <a:ea typeface="Noto Sans ExtraBold" panose="020B0502040504020204" pitchFamily="34" charset="0"/>
              <a:cs typeface="Noto Sans ExtraBold" panose="020B0502040504020204" pitchFamily="34" charset="0"/>
            </a:endParaRPr>
          </a:p>
        </p:txBody>
      </p:sp>
      <p:sp>
        <p:nvSpPr>
          <p:cNvPr id="90" name="Ovaal 89">
            <a:extLst>
              <a:ext uri="{FF2B5EF4-FFF2-40B4-BE49-F238E27FC236}">
                <a16:creationId xmlns:a16="http://schemas.microsoft.com/office/drawing/2014/main" id="{AB3FAED3-06CC-A79D-1E1E-22CA6E75A57F}"/>
              </a:ext>
            </a:extLst>
          </p:cNvPr>
          <p:cNvSpPr/>
          <p:nvPr/>
        </p:nvSpPr>
        <p:spPr>
          <a:xfrm>
            <a:off x="3378200" y="5486576"/>
            <a:ext cx="485775" cy="48577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F8EAA1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01</a:t>
            </a:r>
          </a:p>
        </p:txBody>
      </p:sp>
      <p:sp>
        <p:nvSpPr>
          <p:cNvPr id="91" name="Ovaal 90">
            <a:extLst>
              <a:ext uri="{FF2B5EF4-FFF2-40B4-BE49-F238E27FC236}">
                <a16:creationId xmlns:a16="http://schemas.microsoft.com/office/drawing/2014/main" id="{0279526B-8E2A-5E64-03B0-AE991CBE08C9}"/>
              </a:ext>
            </a:extLst>
          </p:cNvPr>
          <p:cNvSpPr/>
          <p:nvPr/>
        </p:nvSpPr>
        <p:spPr>
          <a:xfrm>
            <a:off x="5469466" y="5486576"/>
            <a:ext cx="485775" cy="48577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F8EAA1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02</a:t>
            </a:r>
          </a:p>
        </p:txBody>
      </p:sp>
      <p:sp>
        <p:nvSpPr>
          <p:cNvPr id="92" name="Ovaal 91">
            <a:extLst>
              <a:ext uri="{FF2B5EF4-FFF2-40B4-BE49-F238E27FC236}">
                <a16:creationId xmlns:a16="http://schemas.microsoft.com/office/drawing/2014/main" id="{6D189F5E-A6A8-3B29-02E1-9EB90C4A8F6E}"/>
              </a:ext>
            </a:extLst>
          </p:cNvPr>
          <p:cNvSpPr/>
          <p:nvPr/>
        </p:nvSpPr>
        <p:spPr>
          <a:xfrm>
            <a:off x="7586133" y="5486576"/>
            <a:ext cx="485775" cy="48577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F8EAA1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03</a:t>
            </a:r>
          </a:p>
        </p:txBody>
      </p:sp>
      <p:sp>
        <p:nvSpPr>
          <p:cNvPr id="93" name="Ovaal 92">
            <a:extLst>
              <a:ext uri="{FF2B5EF4-FFF2-40B4-BE49-F238E27FC236}">
                <a16:creationId xmlns:a16="http://schemas.microsoft.com/office/drawing/2014/main" id="{868B549D-3E69-86F8-3EB0-3C93612A5F64}"/>
              </a:ext>
            </a:extLst>
          </p:cNvPr>
          <p:cNvSpPr/>
          <p:nvPr/>
        </p:nvSpPr>
        <p:spPr>
          <a:xfrm>
            <a:off x="9728200" y="5486576"/>
            <a:ext cx="485775" cy="48577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F8EAA1"/>
                </a:solidFill>
                <a:effectLst/>
                <a:uLnTx/>
                <a:uFillTx/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654167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E3D2DFC1-F32F-C1C7-5D5A-8DFB91F94F42}"/>
              </a:ext>
            </a:extLst>
          </p:cNvPr>
          <p:cNvSpPr/>
          <p:nvPr/>
        </p:nvSpPr>
        <p:spPr>
          <a:xfrm>
            <a:off x="0" y="-70074"/>
            <a:ext cx="12192000" cy="6416724"/>
          </a:xfrm>
          <a:prstGeom prst="rect">
            <a:avLst/>
          </a:prstGeom>
          <a:solidFill>
            <a:srgbClr val="18611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8" name="Rounded Rectangle 1">
            <a:extLst>
              <a:ext uri="{FF2B5EF4-FFF2-40B4-BE49-F238E27FC236}">
                <a16:creationId xmlns:a16="http://schemas.microsoft.com/office/drawing/2014/main" id="{16979341-1A50-E538-05D8-64F7ACCA1620}"/>
              </a:ext>
            </a:extLst>
          </p:cNvPr>
          <p:cNvSpPr/>
          <p:nvPr/>
        </p:nvSpPr>
        <p:spPr>
          <a:xfrm>
            <a:off x="339612" y="391465"/>
            <a:ext cx="11412305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442" y="786897"/>
            <a:ext cx="11055671" cy="646331"/>
          </a:xfrm>
        </p:spPr>
        <p:txBody>
          <a:bodyPr/>
          <a:lstStyle/>
          <a:p>
            <a:r>
              <a:rPr lang="nl-NL" dirty="0"/>
              <a:t>Klanten om trots op te zijn!</a:t>
            </a:r>
            <a:endParaRPr lang="en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AD99E09E-EACA-D0C9-DF4B-C5659BCD318C}"/>
              </a:ext>
            </a:extLst>
          </p:cNvPr>
          <p:cNvGrpSpPr/>
          <p:nvPr/>
        </p:nvGrpSpPr>
        <p:grpSpPr>
          <a:xfrm>
            <a:off x="2047238" y="1652479"/>
            <a:ext cx="9158751" cy="4464431"/>
            <a:chOff x="1477506" y="1772855"/>
            <a:chExt cx="9158751" cy="446443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5" name="Groep 4">
              <a:extLst>
                <a:ext uri="{FF2B5EF4-FFF2-40B4-BE49-F238E27FC236}">
                  <a16:creationId xmlns:a16="http://schemas.microsoft.com/office/drawing/2014/main" id="{27A3624A-5C2A-6951-D967-996AD5A18FC4}"/>
                </a:ext>
              </a:extLst>
            </p:cNvPr>
            <p:cNvGrpSpPr/>
            <p:nvPr/>
          </p:nvGrpSpPr>
          <p:grpSpPr>
            <a:xfrm>
              <a:off x="3821874" y="1772855"/>
              <a:ext cx="2129555" cy="4464431"/>
              <a:chOff x="3468038" y="1772855"/>
              <a:chExt cx="2129555" cy="4464431"/>
            </a:xfrm>
          </p:grpSpPr>
          <p:sp>
            <p:nvSpPr>
              <p:cNvPr id="54" name="Rounded Rectangle 35">
                <a:extLst>
                  <a:ext uri="{FF2B5EF4-FFF2-40B4-BE49-F238E27FC236}">
                    <a16:creationId xmlns:a16="http://schemas.microsoft.com/office/drawing/2014/main" id="{2BAD05CC-872B-E3F0-DD1A-0C41DC178D19}"/>
                  </a:ext>
                </a:extLst>
              </p:cNvPr>
              <p:cNvSpPr/>
              <p:nvPr/>
            </p:nvSpPr>
            <p:spPr>
              <a:xfrm>
                <a:off x="3469992" y="1772855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55" name="Rounded Rectangle 35">
                <a:extLst>
                  <a:ext uri="{FF2B5EF4-FFF2-40B4-BE49-F238E27FC236}">
                    <a16:creationId xmlns:a16="http://schemas.microsoft.com/office/drawing/2014/main" id="{DAB39427-F1A6-DB88-F72F-E4674B229BF2}"/>
                  </a:ext>
                </a:extLst>
              </p:cNvPr>
              <p:cNvSpPr/>
              <p:nvPr/>
            </p:nvSpPr>
            <p:spPr>
              <a:xfrm>
                <a:off x="3468038" y="2924999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56" name="Rounded Rectangle 35">
                <a:extLst>
                  <a:ext uri="{FF2B5EF4-FFF2-40B4-BE49-F238E27FC236}">
                    <a16:creationId xmlns:a16="http://schemas.microsoft.com/office/drawing/2014/main" id="{61E1691C-272A-D855-9119-50C55904C45C}"/>
                  </a:ext>
                </a:extLst>
              </p:cNvPr>
              <p:cNvSpPr/>
              <p:nvPr/>
            </p:nvSpPr>
            <p:spPr>
              <a:xfrm>
                <a:off x="3468038" y="4077143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57" name="Rounded Rectangle 35">
                <a:extLst>
                  <a:ext uri="{FF2B5EF4-FFF2-40B4-BE49-F238E27FC236}">
                    <a16:creationId xmlns:a16="http://schemas.microsoft.com/office/drawing/2014/main" id="{EEB92110-0905-A091-0D35-FBC65E47C6FC}"/>
                  </a:ext>
                </a:extLst>
              </p:cNvPr>
              <p:cNvSpPr/>
              <p:nvPr/>
            </p:nvSpPr>
            <p:spPr>
              <a:xfrm>
                <a:off x="3468038" y="5229286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pic>
            <p:nvPicPr>
              <p:cNvPr id="69" name="Picture 2">
                <a:extLst>
                  <a:ext uri="{FF2B5EF4-FFF2-40B4-BE49-F238E27FC236}">
                    <a16:creationId xmlns:a16="http://schemas.microsoft.com/office/drawing/2014/main" id="{6F9DAACE-CA37-CA63-120C-164C4C2A02E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09062" y="1992328"/>
                <a:ext cx="1845551" cy="5464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5" name="Afbeelding 74">
                <a:extLst>
                  <a:ext uri="{FF2B5EF4-FFF2-40B4-BE49-F238E27FC236}">
                    <a16:creationId xmlns:a16="http://schemas.microsoft.com/office/drawing/2014/main" id="{5BB84448-8B5A-9218-64E0-96C44907EC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42147" y="3164789"/>
                <a:ext cx="1433594" cy="643829"/>
              </a:xfrm>
              <a:prstGeom prst="rect">
                <a:avLst/>
              </a:prstGeom>
            </p:spPr>
          </p:pic>
          <p:pic>
            <p:nvPicPr>
              <p:cNvPr id="78" name="Afbeelding 77">
                <a:extLst>
                  <a:ext uri="{FF2B5EF4-FFF2-40B4-BE49-F238E27FC236}">
                    <a16:creationId xmlns:a16="http://schemas.microsoft.com/office/drawing/2014/main" id="{07A1A64F-143E-6EA7-40D8-A24F060A54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98088" y="4423357"/>
                <a:ext cx="1635816" cy="315571"/>
              </a:xfrm>
              <a:prstGeom prst="rect">
                <a:avLst/>
              </a:prstGeom>
            </p:spPr>
          </p:pic>
          <p:pic>
            <p:nvPicPr>
              <p:cNvPr id="84" name="Picture 14" descr="IJsselheem - Netwerk Dementie IJssel-Vecht">
                <a:extLst>
                  <a:ext uri="{FF2B5EF4-FFF2-40B4-BE49-F238E27FC236}">
                    <a16:creationId xmlns:a16="http://schemas.microsoft.com/office/drawing/2014/main" id="{78754981-1DD9-2B57-03A7-8DB287FBC38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24270" y="5458985"/>
                <a:ext cx="1151471" cy="4874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" name="Groep 5">
              <a:extLst>
                <a:ext uri="{FF2B5EF4-FFF2-40B4-BE49-F238E27FC236}">
                  <a16:creationId xmlns:a16="http://schemas.microsoft.com/office/drawing/2014/main" id="{A9D79864-D3C2-6F54-D847-F9E695E9CCC5}"/>
                </a:ext>
              </a:extLst>
            </p:cNvPr>
            <p:cNvGrpSpPr/>
            <p:nvPr/>
          </p:nvGrpSpPr>
          <p:grpSpPr>
            <a:xfrm>
              <a:off x="6166242" y="1772855"/>
              <a:ext cx="2127601" cy="4464431"/>
              <a:chOff x="6322861" y="1772855"/>
              <a:chExt cx="2127601" cy="4464431"/>
            </a:xfrm>
          </p:grpSpPr>
          <p:sp>
            <p:nvSpPr>
              <p:cNvPr id="59" name="Rounded Rectangle 35">
                <a:extLst>
                  <a:ext uri="{FF2B5EF4-FFF2-40B4-BE49-F238E27FC236}">
                    <a16:creationId xmlns:a16="http://schemas.microsoft.com/office/drawing/2014/main" id="{E87E2469-5C55-00F5-47C8-5204C3202F82}"/>
                  </a:ext>
                </a:extLst>
              </p:cNvPr>
              <p:cNvSpPr/>
              <p:nvPr/>
            </p:nvSpPr>
            <p:spPr>
              <a:xfrm>
                <a:off x="6322861" y="1772855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60" name="Rounded Rectangle 35">
                <a:extLst>
                  <a:ext uri="{FF2B5EF4-FFF2-40B4-BE49-F238E27FC236}">
                    <a16:creationId xmlns:a16="http://schemas.microsoft.com/office/drawing/2014/main" id="{654E52EE-F70C-4A40-D43C-428D52DCE8F5}"/>
                  </a:ext>
                </a:extLst>
              </p:cNvPr>
              <p:cNvSpPr/>
              <p:nvPr/>
            </p:nvSpPr>
            <p:spPr>
              <a:xfrm>
                <a:off x="6322861" y="2924999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61" name="Rounded Rectangle 35">
                <a:extLst>
                  <a:ext uri="{FF2B5EF4-FFF2-40B4-BE49-F238E27FC236}">
                    <a16:creationId xmlns:a16="http://schemas.microsoft.com/office/drawing/2014/main" id="{A66D598A-CED2-F205-66FB-76FBAF11B0F5}"/>
                  </a:ext>
                </a:extLst>
              </p:cNvPr>
              <p:cNvSpPr/>
              <p:nvPr/>
            </p:nvSpPr>
            <p:spPr>
              <a:xfrm>
                <a:off x="6322861" y="4077143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62" name="Rounded Rectangle 35">
                <a:extLst>
                  <a:ext uri="{FF2B5EF4-FFF2-40B4-BE49-F238E27FC236}">
                    <a16:creationId xmlns:a16="http://schemas.microsoft.com/office/drawing/2014/main" id="{FDCC36BA-892B-5F07-2E2D-44E4E1FB1A38}"/>
                  </a:ext>
                </a:extLst>
              </p:cNvPr>
              <p:cNvSpPr/>
              <p:nvPr/>
            </p:nvSpPr>
            <p:spPr>
              <a:xfrm>
                <a:off x="6322861" y="5229286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pic>
            <p:nvPicPr>
              <p:cNvPr id="70" name="Picture 57">
                <a:extLst>
                  <a:ext uri="{FF2B5EF4-FFF2-40B4-BE49-F238E27FC236}">
                    <a16:creationId xmlns:a16="http://schemas.microsoft.com/office/drawing/2014/main" id="{C186B9A2-1611-2D39-C623-DC95CDE84E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41001" y="2096466"/>
                <a:ext cx="1491319" cy="3217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" name="Afbeelding 1">
                <a:extLst>
                  <a:ext uri="{FF2B5EF4-FFF2-40B4-BE49-F238E27FC236}">
                    <a16:creationId xmlns:a16="http://schemas.microsoft.com/office/drawing/2014/main" id="{8BF8E4B9-AB9D-8ACB-930D-1F57778EEF9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65814" y="3087132"/>
                <a:ext cx="1083170" cy="6839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9" name="Afbeelding 23" descr="Afbeelding met symbool, clipart, Graphics, logo&#10;&#10;Automatisch gegenereerde beschrijving">
                <a:extLst>
                  <a:ext uri="{FF2B5EF4-FFF2-40B4-BE49-F238E27FC236}">
                    <a16:creationId xmlns:a16="http://schemas.microsoft.com/office/drawing/2014/main" id="{1A59EAA9-E8EE-8838-99C3-EE2EC42F1EC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80610" y="4241478"/>
                <a:ext cx="743446" cy="6997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5" name="Afbeelding 84">
                <a:extLst>
                  <a:ext uri="{FF2B5EF4-FFF2-40B4-BE49-F238E27FC236}">
                    <a16:creationId xmlns:a16="http://schemas.microsoft.com/office/drawing/2014/main" id="{BFAFFC7A-29A0-640E-D874-1A8A0219DF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542894" y="5537765"/>
                <a:ext cx="1529010" cy="408676"/>
              </a:xfrm>
              <a:prstGeom prst="rect">
                <a:avLst/>
              </a:prstGeom>
            </p:spPr>
          </p:pic>
        </p:grpSp>
        <p:grpSp>
          <p:nvGrpSpPr>
            <p:cNvPr id="4" name="Groep 3">
              <a:extLst>
                <a:ext uri="{FF2B5EF4-FFF2-40B4-BE49-F238E27FC236}">
                  <a16:creationId xmlns:a16="http://schemas.microsoft.com/office/drawing/2014/main" id="{0A6235EE-040B-F022-D688-5058D1E183DE}"/>
                </a:ext>
              </a:extLst>
            </p:cNvPr>
            <p:cNvGrpSpPr/>
            <p:nvPr/>
          </p:nvGrpSpPr>
          <p:grpSpPr>
            <a:xfrm>
              <a:off x="1477506" y="1772855"/>
              <a:ext cx="2129555" cy="4464431"/>
              <a:chOff x="615170" y="1772855"/>
              <a:chExt cx="2129555" cy="4464431"/>
            </a:xfrm>
          </p:grpSpPr>
          <p:sp>
            <p:nvSpPr>
              <p:cNvPr id="87" name="Rounded Rectangle 35">
                <a:extLst>
                  <a:ext uri="{FF2B5EF4-FFF2-40B4-BE49-F238E27FC236}">
                    <a16:creationId xmlns:a16="http://schemas.microsoft.com/office/drawing/2014/main" id="{3EBC6421-34D7-70C6-D48D-19997A1B88F7}"/>
                  </a:ext>
                </a:extLst>
              </p:cNvPr>
              <p:cNvSpPr/>
              <p:nvPr/>
            </p:nvSpPr>
            <p:spPr>
              <a:xfrm>
                <a:off x="617124" y="4077142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86" name="Rounded Rectangle 35">
                <a:extLst>
                  <a:ext uri="{FF2B5EF4-FFF2-40B4-BE49-F238E27FC236}">
                    <a16:creationId xmlns:a16="http://schemas.microsoft.com/office/drawing/2014/main" id="{6CE4C24D-7684-CA54-FF23-E6E27CD45B53}"/>
                  </a:ext>
                </a:extLst>
              </p:cNvPr>
              <p:cNvSpPr/>
              <p:nvPr/>
            </p:nvSpPr>
            <p:spPr>
              <a:xfrm>
                <a:off x="617124" y="5229286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pic>
            <p:nvPicPr>
              <p:cNvPr id="81" name="Afbeelding 80">
                <a:extLst>
                  <a:ext uri="{FF2B5EF4-FFF2-40B4-BE49-F238E27FC236}">
                    <a16:creationId xmlns:a16="http://schemas.microsoft.com/office/drawing/2014/main" id="{A6980519-6A14-2885-1E78-4807329274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02535" y="4373140"/>
                <a:ext cx="1552869" cy="416004"/>
              </a:xfrm>
              <a:prstGeom prst="rect">
                <a:avLst/>
              </a:prstGeom>
            </p:spPr>
          </p:pic>
          <p:pic>
            <p:nvPicPr>
              <p:cNvPr id="83" name="Picture 10" descr="Rode Kruis Ziekenhuis Beverwijk">
                <a:extLst>
                  <a:ext uri="{FF2B5EF4-FFF2-40B4-BE49-F238E27FC236}">
                    <a16:creationId xmlns:a16="http://schemas.microsoft.com/office/drawing/2014/main" id="{F7E841C4-BB87-D612-91BD-5C8D4E3095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5388" y="5596937"/>
                <a:ext cx="1612894" cy="2887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Rounded Rectangle 35">
                <a:extLst>
                  <a:ext uri="{FF2B5EF4-FFF2-40B4-BE49-F238E27FC236}">
                    <a16:creationId xmlns:a16="http://schemas.microsoft.com/office/drawing/2014/main" id="{06BE5788-C79D-6128-6C9C-90A2F519DB78}"/>
                  </a:ext>
                </a:extLst>
              </p:cNvPr>
              <p:cNvSpPr/>
              <p:nvPr/>
            </p:nvSpPr>
            <p:spPr>
              <a:xfrm>
                <a:off x="617123" y="1772855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9" name="Rounded Rectangle 35">
                <a:extLst>
                  <a:ext uri="{FF2B5EF4-FFF2-40B4-BE49-F238E27FC236}">
                    <a16:creationId xmlns:a16="http://schemas.microsoft.com/office/drawing/2014/main" id="{8CDCFCA1-8B0E-6040-738B-B4C10E4D98B8}"/>
                  </a:ext>
                </a:extLst>
              </p:cNvPr>
              <p:cNvSpPr/>
              <p:nvPr/>
            </p:nvSpPr>
            <p:spPr>
              <a:xfrm>
                <a:off x="615170" y="2924999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pic>
            <p:nvPicPr>
              <p:cNvPr id="68" name="Afbeelding 1">
                <a:extLst>
                  <a:ext uri="{FF2B5EF4-FFF2-40B4-BE49-F238E27FC236}">
                    <a16:creationId xmlns:a16="http://schemas.microsoft.com/office/drawing/2014/main" id="{F53A677D-4B3E-48C8-7D88-B81945B14B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6546" y="1911708"/>
                <a:ext cx="1358259" cy="6924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3" name="Afbeelding 72">
                <a:extLst>
                  <a:ext uri="{FF2B5EF4-FFF2-40B4-BE49-F238E27FC236}">
                    <a16:creationId xmlns:a16="http://schemas.microsoft.com/office/drawing/2014/main" id="{3BBD8A9F-B9EC-063D-2068-147F99004B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8840" y="3319953"/>
                <a:ext cx="1675297" cy="228957"/>
              </a:xfrm>
              <a:prstGeom prst="rect">
                <a:avLst/>
              </a:prstGeom>
            </p:spPr>
          </p:pic>
        </p:grpSp>
        <p:grpSp>
          <p:nvGrpSpPr>
            <p:cNvPr id="7" name="Groep 6">
              <a:extLst>
                <a:ext uri="{FF2B5EF4-FFF2-40B4-BE49-F238E27FC236}">
                  <a16:creationId xmlns:a16="http://schemas.microsoft.com/office/drawing/2014/main" id="{2855916A-1572-9AA3-2F12-6BFD0046B4CD}"/>
                </a:ext>
              </a:extLst>
            </p:cNvPr>
            <p:cNvGrpSpPr/>
            <p:nvPr/>
          </p:nvGrpSpPr>
          <p:grpSpPr>
            <a:xfrm>
              <a:off x="8508656" y="1772855"/>
              <a:ext cx="2127601" cy="4464431"/>
              <a:chOff x="9175729" y="1772855"/>
              <a:chExt cx="2127601" cy="4464431"/>
            </a:xfrm>
          </p:grpSpPr>
          <p:sp>
            <p:nvSpPr>
              <p:cNvPr id="43" name="Rounded Rectangle 35">
                <a:extLst>
                  <a:ext uri="{FF2B5EF4-FFF2-40B4-BE49-F238E27FC236}">
                    <a16:creationId xmlns:a16="http://schemas.microsoft.com/office/drawing/2014/main" id="{FCECBD93-2B0B-D06E-3CC8-78ED637A07DD}"/>
                  </a:ext>
                </a:extLst>
              </p:cNvPr>
              <p:cNvSpPr/>
              <p:nvPr/>
            </p:nvSpPr>
            <p:spPr>
              <a:xfrm>
                <a:off x="9175729" y="5229286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64" name="Rounded Rectangle 35">
                <a:extLst>
                  <a:ext uri="{FF2B5EF4-FFF2-40B4-BE49-F238E27FC236}">
                    <a16:creationId xmlns:a16="http://schemas.microsoft.com/office/drawing/2014/main" id="{EC66005A-A6C9-1E8A-3CF1-A6449F6A429D}"/>
                  </a:ext>
                </a:extLst>
              </p:cNvPr>
              <p:cNvSpPr/>
              <p:nvPr/>
            </p:nvSpPr>
            <p:spPr>
              <a:xfrm>
                <a:off x="9175729" y="1772855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65" name="Rounded Rectangle 35">
                <a:extLst>
                  <a:ext uri="{FF2B5EF4-FFF2-40B4-BE49-F238E27FC236}">
                    <a16:creationId xmlns:a16="http://schemas.microsoft.com/office/drawing/2014/main" id="{2A2815D4-7551-8ED3-F8C8-37DD374EBD4D}"/>
                  </a:ext>
                </a:extLst>
              </p:cNvPr>
              <p:cNvSpPr/>
              <p:nvPr/>
            </p:nvSpPr>
            <p:spPr>
              <a:xfrm>
                <a:off x="9175729" y="2924999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66" name="Rounded Rectangle 35">
                <a:extLst>
                  <a:ext uri="{FF2B5EF4-FFF2-40B4-BE49-F238E27FC236}">
                    <a16:creationId xmlns:a16="http://schemas.microsoft.com/office/drawing/2014/main" id="{40795E77-6F0A-A976-EE8B-2BEAB75E95DC}"/>
                  </a:ext>
                </a:extLst>
              </p:cNvPr>
              <p:cNvSpPr/>
              <p:nvPr/>
            </p:nvSpPr>
            <p:spPr>
              <a:xfrm>
                <a:off x="9175729" y="4077143"/>
                <a:ext cx="2127601" cy="1008000"/>
              </a:xfrm>
              <a:prstGeom prst="roundRect">
                <a:avLst>
                  <a:gd name="adj" fmla="val 3338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NL" sz="1800" b="0" i="0" u="none" strike="noStrike" kern="1200" cap="none" spc="0" normalizeH="0" baseline="0" noProof="0">
                  <a:ln>
                    <a:noFill/>
                  </a:ln>
                  <a:noFill/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pic>
            <p:nvPicPr>
              <p:cNvPr id="71" name="Afbeelding 70">
                <a:extLst>
                  <a:ext uri="{FF2B5EF4-FFF2-40B4-BE49-F238E27FC236}">
                    <a16:creationId xmlns:a16="http://schemas.microsoft.com/office/drawing/2014/main" id="{206E2779-6927-DEF1-5114-C872AAF756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830899" y="1897191"/>
                <a:ext cx="815247" cy="767291"/>
              </a:xfrm>
              <a:prstGeom prst="rect">
                <a:avLst/>
              </a:prstGeom>
            </p:spPr>
          </p:pic>
          <p:pic>
            <p:nvPicPr>
              <p:cNvPr id="77" name="Afbeelding 33">
                <a:extLst>
                  <a:ext uri="{FF2B5EF4-FFF2-40B4-BE49-F238E27FC236}">
                    <a16:creationId xmlns:a16="http://schemas.microsoft.com/office/drawing/2014/main" id="{77CD002F-92C6-FB85-59B9-E3E7DBFAD5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450721" y="3175021"/>
                <a:ext cx="1577613" cy="4974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2" name="Afbeelding 81">
                <a:extLst>
                  <a:ext uri="{FF2B5EF4-FFF2-40B4-BE49-F238E27FC236}">
                    <a16:creationId xmlns:a16="http://schemas.microsoft.com/office/drawing/2014/main" id="{45E4E479-535D-5886-98EB-660962CF06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34159" y="5400850"/>
                <a:ext cx="1108120" cy="664872"/>
              </a:xfrm>
              <a:prstGeom prst="rect">
                <a:avLst/>
              </a:prstGeom>
            </p:spPr>
          </p:pic>
        </p:grpSp>
      </p:grpSp>
      <p:sp>
        <p:nvSpPr>
          <p:cNvPr id="17" name="Rounded Rectangle 21">
            <a:extLst>
              <a:ext uri="{FF2B5EF4-FFF2-40B4-BE49-F238E27FC236}">
                <a16:creationId xmlns:a16="http://schemas.microsoft.com/office/drawing/2014/main" id="{1DEA04BB-6926-DFB5-B5F4-098FBD3AE54D}"/>
              </a:ext>
            </a:extLst>
          </p:cNvPr>
          <p:cNvSpPr>
            <a:spLocks noChangeAspect="1"/>
          </p:cNvSpPr>
          <p:nvPr/>
        </p:nvSpPr>
        <p:spPr>
          <a:xfrm>
            <a:off x="857913" y="1658428"/>
            <a:ext cx="996542" cy="953975"/>
          </a:xfrm>
          <a:prstGeom prst="roundRect">
            <a:avLst>
              <a:gd name="adj" fmla="val 6575"/>
            </a:avLst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12BBE41F-6D34-C021-983D-B7353EA6B03A}"/>
              </a:ext>
            </a:extLst>
          </p:cNvPr>
          <p:cNvGrpSpPr/>
          <p:nvPr/>
        </p:nvGrpSpPr>
        <p:grpSpPr>
          <a:xfrm>
            <a:off x="868006" y="2821023"/>
            <a:ext cx="980531" cy="953975"/>
            <a:chOff x="8141446" y="2063537"/>
            <a:chExt cx="594805" cy="594805"/>
          </a:xfrm>
          <a:solidFill>
            <a:schemeClr val="accent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5" name="Rounded Rectangle 21">
              <a:extLst>
                <a:ext uri="{FF2B5EF4-FFF2-40B4-BE49-F238E27FC236}">
                  <a16:creationId xmlns:a16="http://schemas.microsoft.com/office/drawing/2014/main" id="{F4BF0A74-81FA-3245-037B-BF6E59038B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141446" y="2063537"/>
              <a:ext cx="594805" cy="594805"/>
            </a:xfrm>
            <a:prstGeom prst="roundRect">
              <a:avLst>
                <a:gd name="adj" fmla="val 657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L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6" name="Graphic 20">
              <a:extLst>
                <a:ext uri="{FF2B5EF4-FFF2-40B4-BE49-F238E27FC236}">
                  <a16:creationId xmlns:a16="http://schemas.microsoft.com/office/drawing/2014/main" id="{B1B54EF0-427C-EC8B-3188-ECC4FF4A16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247426" y="2170139"/>
              <a:ext cx="381600" cy="381600"/>
            </a:xfrm>
            <a:prstGeom prst="rect">
              <a:avLst/>
            </a:prstGeom>
          </p:spPr>
        </p:pic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D7295A75-2138-5019-00A6-C8C659342DE9}"/>
              </a:ext>
            </a:extLst>
          </p:cNvPr>
          <p:cNvGrpSpPr/>
          <p:nvPr/>
        </p:nvGrpSpPr>
        <p:grpSpPr>
          <a:xfrm>
            <a:off x="868010" y="3974168"/>
            <a:ext cx="996992" cy="959560"/>
            <a:chOff x="8141440" y="2839041"/>
            <a:chExt cx="594805" cy="59480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3" name="Rounded Rectangle 21">
              <a:extLst>
                <a:ext uri="{FF2B5EF4-FFF2-40B4-BE49-F238E27FC236}">
                  <a16:creationId xmlns:a16="http://schemas.microsoft.com/office/drawing/2014/main" id="{4A25B0FC-17B4-27BF-1992-1CD3C89484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141440" y="2839041"/>
              <a:ext cx="594805" cy="594805"/>
            </a:xfrm>
            <a:prstGeom prst="roundRect">
              <a:avLst>
                <a:gd name="adj" fmla="val 6575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L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56284EBD-6BC5-1640-46DA-40D219800D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245883" y="2961644"/>
              <a:ext cx="381600" cy="381600"/>
            </a:xfrm>
            <a:prstGeom prst="rect">
              <a:avLst/>
            </a:prstGeom>
          </p:spPr>
        </p:pic>
      </p:grpSp>
      <p:grpSp>
        <p:nvGrpSpPr>
          <p:cNvPr id="20" name="Groep 19">
            <a:extLst>
              <a:ext uri="{FF2B5EF4-FFF2-40B4-BE49-F238E27FC236}">
                <a16:creationId xmlns:a16="http://schemas.microsoft.com/office/drawing/2014/main" id="{79A889AD-A34E-2100-B283-F344AFECF51E}"/>
              </a:ext>
            </a:extLst>
          </p:cNvPr>
          <p:cNvGrpSpPr/>
          <p:nvPr/>
        </p:nvGrpSpPr>
        <p:grpSpPr>
          <a:xfrm>
            <a:off x="857919" y="5131597"/>
            <a:ext cx="996992" cy="959560"/>
            <a:chOff x="8141443" y="3634241"/>
            <a:chExt cx="594805" cy="59480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1" name="Rounded Rectangle 21">
              <a:extLst>
                <a:ext uri="{FF2B5EF4-FFF2-40B4-BE49-F238E27FC236}">
                  <a16:creationId xmlns:a16="http://schemas.microsoft.com/office/drawing/2014/main" id="{B20B4568-899E-3B69-D8D0-00EF7286B7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141443" y="3634241"/>
              <a:ext cx="594805" cy="594805"/>
            </a:xfrm>
            <a:prstGeom prst="roundRect">
              <a:avLst>
                <a:gd name="adj" fmla="val 6575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L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2" name="Graphic 26">
              <a:extLst>
                <a:ext uri="{FF2B5EF4-FFF2-40B4-BE49-F238E27FC236}">
                  <a16:creationId xmlns:a16="http://schemas.microsoft.com/office/drawing/2014/main" id="{38887970-3064-6AF8-5A94-148357A510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8245883" y="3739986"/>
              <a:ext cx="381000" cy="381000"/>
            </a:xfrm>
            <a:prstGeom prst="rect">
              <a:avLst/>
            </a:prstGeom>
          </p:spPr>
        </p:pic>
      </p:grpSp>
      <p:pic>
        <p:nvPicPr>
          <p:cNvPr id="27" name="Graphic 17">
            <a:extLst>
              <a:ext uri="{FF2B5EF4-FFF2-40B4-BE49-F238E27FC236}">
                <a16:creationId xmlns:a16="http://schemas.microsoft.com/office/drawing/2014/main" id="{086C9934-CF83-A8A2-725F-45578C6CCEA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0147" y="1842514"/>
            <a:ext cx="602596" cy="560236"/>
          </a:xfrm>
          <a:prstGeom prst="rect">
            <a:avLst/>
          </a:prstGeom>
          <a:effectLst/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8E6935C5-1FD4-8F51-5EC7-C29664D30354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52856" y="4061576"/>
            <a:ext cx="1376650" cy="79067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3529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779353FD-C7FF-781A-7CB7-C0F0F0092B2C}"/>
              </a:ext>
            </a:extLst>
          </p:cNvPr>
          <p:cNvSpPr/>
          <p:nvPr/>
        </p:nvSpPr>
        <p:spPr>
          <a:xfrm>
            <a:off x="0" y="-70074"/>
            <a:ext cx="12192000" cy="6416724"/>
          </a:xfrm>
          <a:prstGeom prst="rect">
            <a:avLst/>
          </a:prstGeom>
          <a:solidFill>
            <a:srgbClr val="18611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6" name="Rounded Rectangle 1">
            <a:extLst>
              <a:ext uri="{FF2B5EF4-FFF2-40B4-BE49-F238E27FC236}">
                <a16:creationId xmlns:a16="http://schemas.microsoft.com/office/drawing/2014/main" id="{4038A305-F57E-113D-1D32-D6DA1F54F8FF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442" y="786897"/>
            <a:ext cx="11055671" cy="646331"/>
          </a:xfrm>
        </p:spPr>
        <p:txBody>
          <a:bodyPr/>
          <a:lstStyle/>
          <a:p>
            <a:r>
              <a:rPr lang="nl-NL" dirty="0"/>
              <a:t>Klanten in Healthcare om trots op te zijn!</a:t>
            </a:r>
            <a:endParaRPr lang="en-NL"/>
          </a:p>
        </p:txBody>
      </p:sp>
      <p:sp>
        <p:nvSpPr>
          <p:cNvPr id="100" name="Rounded Rectangle 35">
            <a:extLst>
              <a:ext uri="{FF2B5EF4-FFF2-40B4-BE49-F238E27FC236}">
                <a16:creationId xmlns:a16="http://schemas.microsoft.com/office/drawing/2014/main" id="{B8616895-A933-B585-65EC-78ED6A839E10}"/>
              </a:ext>
            </a:extLst>
          </p:cNvPr>
          <p:cNvSpPr/>
          <p:nvPr/>
        </p:nvSpPr>
        <p:spPr>
          <a:xfrm>
            <a:off x="3862947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Rounded Rectangle 35">
            <a:extLst>
              <a:ext uri="{FF2B5EF4-FFF2-40B4-BE49-F238E27FC236}">
                <a16:creationId xmlns:a16="http://schemas.microsoft.com/office/drawing/2014/main" id="{CBD72264-03C1-0E1D-307B-B3E547A604F4}"/>
              </a:ext>
            </a:extLst>
          </p:cNvPr>
          <p:cNvSpPr/>
          <p:nvPr/>
        </p:nvSpPr>
        <p:spPr>
          <a:xfrm>
            <a:off x="3860993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Rounded Rectangle 35">
            <a:extLst>
              <a:ext uri="{FF2B5EF4-FFF2-40B4-BE49-F238E27FC236}">
                <a16:creationId xmlns:a16="http://schemas.microsoft.com/office/drawing/2014/main" id="{9C895AD6-C1A7-9075-FE27-515B87019919}"/>
              </a:ext>
            </a:extLst>
          </p:cNvPr>
          <p:cNvSpPr/>
          <p:nvPr/>
        </p:nvSpPr>
        <p:spPr>
          <a:xfrm>
            <a:off x="3860993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" name="Rounded Rectangle 35">
            <a:extLst>
              <a:ext uri="{FF2B5EF4-FFF2-40B4-BE49-F238E27FC236}">
                <a16:creationId xmlns:a16="http://schemas.microsoft.com/office/drawing/2014/main" id="{BD97A3BC-2DDA-B887-4EC5-DC333EEA4B62}"/>
              </a:ext>
            </a:extLst>
          </p:cNvPr>
          <p:cNvSpPr/>
          <p:nvPr/>
        </p:nvSpPr>
        <p:spPr>
          <a:xfrm>
            <a:off x="3860993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Rounded Rectangle 35">
            <a:extLst>
              <a:ext uri="{FF2B5EF4-FFF2-40B4-BE49-F238E27FC236}">
                <a16:creationId xmlns:a16="http://schemas.microsoft.com/office/drawing/2014/main" id="{DCA0FC34-6079-BFBC-9DAA-AA9B94B9D9EC}"/>
              </a:ext>
            </a:extLst>
          </p:cNvPr>
          <p:cNvSpPr/>
          <p:nvPr/>
        </p:nvSpPr>
        <p:spPr>
          <a:xfrm>
            <a:off x="6205361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ounded Rectangle 35">
            <a:extLst>
              <a:ext uri="{FF2B5EF4-FFF2-40B4-BE49-F238E27FC236}">
                <a16:creationId xmlns:a16="http://schemas.microsoft.com/office/drawing/2014/main" id="{0E967300-D312-94B5-8B66-9F6AC3C0D802}"/>
              </a:ext>
            </a:extLst>
          </p:cNvPr>
          <p:cNvSpPr/>
          <p:nvPr/>
        </p:nvSpPr>
        <p:spPr>
          <a:xfrm>
            <a:off x="6205361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Rounded Rectangle 35">
            <a:extLst>
              <a:ext uri="{FF2B5EF4-FFF2-40B4-BE49-F238E27FC236}">
                <a16:creationId xmlns:a16="http://schemas.microsoft.com/office/drawing/2014/main" id="{8FA910F4-F7D3-8A5A-8D96-D0F1DF5327DA}"/>
              </a:ext>
            </a:extLst>
          </p:cNvPr>
          <p:cNvSpPr/>
          <p:nvPr/>
        </p:nvSpPr>
        <p:spPr>
          <a:xfrm>
            <a:off x="6205361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" name="Rounded Rectangle 35">
            <a:extLst>
              <a:ext uri="{FF2B5EF4-FFF2-40B4-BE49-F238E27FC236}">
                <a16:creationId xmlns:a16="http://schemas.microsoft.com/office/drawing/2014/main" id="{A5EFC0A8-C0FD-650F-E391-5BF6F24F3439}"/>
              </a:ext>
            </a:extLst>
          </p:cNvPr>
          <p:cNvSpPr/>
          <p:nvPr/>
        </p:nvSpPr>
        <p:spPr>
          <a:xfrm>
            <a:off x="6205361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Rounded Rectangle 35">
            <a:extLst>
              <a:ext uri="{FF2B5EF4-FFF2-40B4-BE49-F238E27FC236}">
                <a16:creationId xmlns:a16="http://schemas.microsoft.com/office/drawing/2014/main" id="{1FF32325-9902-BB8B-4DE5-0A2F65A38547}"/>
              </a:ext>
            </a:extLst>
          </p:cNvPr>
          <p:cNvSpPr/>
          <p:nvPr/>
        </p:nvSpPr>
        <p:spPr>
          <a:xfrm>
            <a:off x="1518579" y="3956766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Rounded Rectangle 35">
            <a:extLst>
              <a:ext uri="{FF2B5EF4-FFF2-40B4-BE49-F238E27FC236}">
                <a16:creationId xmlns:a16="http://schemas.microsoft.com/office/drawing/2014/main" id="{3EEE6E38-5E06-A9A4-A2B8-2B2B20F14FA9}"/>
              </a:ext>
            </a:extLst>
          </p:cNvPr>
          <p:cNvSpPr/>
          <p:nvPr/>
        </p:nvSpPr>
        <p:spPr>
          <a:xfrm>
            <a:off x="1518579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Rounded Rectangle 35">
            <a:extLst>
              <a:ext uri="{FF2B5EF4-FFF2-40B4-BE49-F238E27FC236}">
                <a16:creationId xmlns:a16="http://schemas.microsoft.com/office/drawing/2014/main" id="{022BC4AA-27D3-D91F-2FA6-5764032433DA}"/>
              </a:ext>
            </a:extLst>
          </p:cNvPr>
          <p:cNvSpPr/>
          <p:nvPr/>
        </p:nvSpPr>
        <p:spPr>
          <a:xfrm>
            <a:off x="1518578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Rounded Rectangle 35">
            <a:extLst>
              <a:ext uri="{FF2B5EF4-FFF2-40B4-BE49-F238E27FC236}">
                <a16:creationId xmlns:a16="http://schemas.microsoft.com/office/drawing/2014/main" id="{84F94273-374B-4F71-F4C8-580C29D2B382}"/>
              </a:ext>
            </a:extLst>
          </p:cNvPr>
          <p:cNvSpPr/>
          <p:nvPr/>
        </p:nvSpPr>
        <p:spPr>
          <a:xfrm>
            <a:off x="1516625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" name="Rounded Rectangle 35">
            <a:extLst>
              <a:ext uri="{FF2B5EF4-FFF2-40B4-BE49-F238E27FC236}">
                <a16:creationId xmlns:a16="http://schemas.microsoft.com/office/drawing/2014/main" id="{8053A666-6130-EB55-C3BC-3EAA82BD81BF}"/>
              </a:ext>
            </a:extLst>
          </p:cNvPr>
          <p:cNvSpPr/>
          <p:nvPr/>
        </p:nvSpPr>
        <p:spPr>
          <a:xfrm>
            <a:off x="8547775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Rounded Rectangle 35">
            <a:extLst>
              <a:ext uri="{FF2B5EF4-FFF2-40B4-BE49-F238E27FC236}">
                <a16:creationId xmlns:a16="http://schemas.microsoft.com/office/drawing/2014/main" id="{E5DD21EA-D8C4-A66E-98CE-D17BEC52EEE4}"/>
              </a:ext>
            </a:extLst>
          </p:cNvPr>
          <p:cNvSpPr/>
          <p:nvPr/>
        </p:nvSpPr>
        <p:spPr>
          <a:xfrm>
            <a:off x="8547775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Rounded Rectangle 35">
            <a:extLst>
              <a:ext uri="{FF2B5EF4-FFF2-40B4-BE49-F238E27FC236}">
                <a16:creationId xmlns:a16="http://schemas.microsoft.com/office/drawing/2014/main" id="{C7AE35C0-6EF0-A51C-BBF7-DAFA8D648535}"/>
              </a:ext>
            </a:extLst>
          </p:cNvPr>
          <p:cNvSpPr/>
          <p:nvPr/>
        </p:nvSpPr>
        <p:spPr>
          <a:xfrm>
            <a:off x="8547775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Rounded Rectangle 35">
            <a:extLst>
              <a:ext uri="{FF2B5EF4-FFF2-40B4-BE49-F238E27FC236}">
                <a16:creationId xmlns:a16="http://schemas.microsoft.com/office/drawing/2014/main" id="{753A1E3A-EBDF-CCD2-6A9B-7CE83BBE07E9}"/>
              </a:ext>
            </a:extLst>
          </p:cNvPr>
          <p:cNvSpPr/>
          <p:nvPr/>
        </p:nvSpPr>
        <p:spPr>
          <a:xfrm>
            <a:off x="8547775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8" name="Picture 10" descr="Rode Kruis Ziekenhuis Beverwijk">
            <a:extLst>
              <a:ext uri="{FF2B5EF4-FFF2-40B4-BE49-F238E27FC236}">
                <a16:creationId xmlns:a16="http://schemas.microsoft.com/office/drawing/2014/main" id="{E3960406-09BF-96D4-75F8-76F1E5E7AF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0153" y="4327273"/>
            <a:ext cx="1882844" cy="33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4" descr="IJsselheem - Netwerk Dementie IJssel-Vecht">
            <a:extLst>
              <a:ext uri="{FF2B5EF4-FFF2-40B4-BE49-F238E27FC236}">
                <a16:creationId xmlns:a16="http://schemas.microsoft.com/office/drawing/2014/main" id="{826A4EE5-2E0A-0812-A719-E436594C20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8328" y="3052217"/>
            <a:ext cx="1344193" cy="569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Afbeelding 39">
            <a:extLst>
              <a:ext uri="{FF2B5EF4-FFF2-40B4-BE49-F238E27FC236}">
                <a16:creationId xmlns:a16="http://schemas.microsoft.com/office/drawing/2014/main" id="{C3CD1355-F1A0-D1F1-7183-C368E75BDBD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5833" y="2995988"/>
            <a:ext cx="1166664" cy="625271"/>
          </a:xfrm>
          <a:prstGeom prst="rect">
            <a:avLst/>
          </a:prstGeom>
        </p:spPr>
      </p:pic>
      <p:pic>
        <p:nvPicPr>
          <p:cNvPr id="41" name="Afbeelding 40">
            <a:extLst>
              <a:ext uri="{FF2B5EF4-FFF2-40B4-BE49-F238E27FC236}">
                <a16:creationId xmlns:a16="http://schemas.microsoft.com/office/drawing/2014/main" id="{C94C34A4-4AEB-8568-0600-AE17D9569D9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325" b="7595"/>
          <a:stretch/>
        </p:blipFill>
        <p:spPr>
          <a:xfrm>
            <a:off x="6422428" y="5277280"/>
            <a:ext cx="1662805" cy="702903"/>
          </a:xfrm>
          <a:prstGeom prst="rect">
            <a:avLst/>
          </a:prstGeom>
        </p:spPr>
      </p:pic>
      <p:pic>
        <p:nvPicPr>
          <p:cNvPr id="42" name="Afbeelding 41">
            <a:extLst>
              <a:ext uri="{FF2B5EF4-FFF2-40B4-BE49-F238E27FC236}">
                <a16:creationId xmlns:a16="http://schemas.microsoft.com/office/drawing/2014/main" id="{C8D486A3-B7C9-7693-7C15-6866FD02EAA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5905" y="4231828"/>
            <a:ext cx="1577305" cy="562125"/>
          </a:xfrm>
          <a:prstGeom prst="rect">
            <a:avLst/>
          </a:prstGeom>
        </p:spPr>
      </p:pic>
      <p:pic>
        <p:nvPicPr>
          <p:cNvPr id="43" name="Afbeelding 42">
            <a:extLst>
              <a:ext uri="{FF2B5EF4-FFF2-40B4-BE49-F238E27FC236}">
                <a16:creationId xmlns:a16="http://schemas.microsoft.com/office/drawing/2014/main" id="{D7AC810A-DE99-D75B-2985-BEBD94D67F9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342" b="20778"/>
          <a:stretch/>
        </p:blipFill>
        <p:spPr>
          <a:xfrm>
            <a:off x="3957798" y="5398576"/>
            <a:ext cx="1929110" cy="490616"/>
          </a:xfrm>
          <a:prstGeom prst="rect">
            <a:avLst/>
          </a:prstGeom>
        </p:spPr>
      </p:pic>
      <p:pic>
        <p:nvPicPr>
          <p:cNvPr id="44" name="Afbeelding 43">
            <a:extLst>
              <a:ext uri="{FF2B5EF4-FFF2-40B4-BE49-F238E27FC236}">
                <a16:creationId xmlns:a16="http://schemas.microsoft.com/office/drawing/2014/main" id="{D488527C-2B69-E643-0909-1045E2FB35A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126" b="33533"/>
          <a:stretch/>
        </p:blipFill>
        <p:spPr>
          <a:xfrm>
            <a:off x="1639003" y="4261625"/>
            <a:ext cx="1870296" cy="347006"/>
          </a:xfrm>
          <a:prstGeom prst="rect">
            <a:avLst/>
          </a:prstGeom>
        </p:spPr>
      </p:pic>
      <p:pic>
        <p:nvPicPr>
          <p:cNvPr id="45" name="Afbeelding 44">
            <a:extLst>
              <a:ext uri="{FF2B5EF4-FFF2-40B4-BE49-F238E27FC236}">
                <a16:creationId xmlns:a16="http://schemas.microsoft.com/office/drawing/2014/main" id="{0AE5F96D-F5C1-3041-D239-9016DF63433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4619" y="5337993"/>
            <a:ext cx="1528839" cy="597870"/>
          </a:xfrm>
          <a:prstGeom prst="rect">
            <a:avLst/>
          </a:prstGeom>
        </p:spPr>
      </p:pic>
      <p:pic>
        <p:nvPicPr>
          <p:cNvPr id="46" name="Afbeelding 45">
            <a:extLst>
              <a:ext uri="{FF2B5EF4-FFF2-40B4-BE49-F238E27FC236}">
                <a16:creationId xmlns:a16="http://schemas.microsoft.com/office/drawing/2014/main" id="{0252D1F1-9459-54CD-AF29-A0C150137B3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7844" y="3110383"/>
            <a:ext cx="1483385" cy="396481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23BEFED7-E757-5DC1-B32A-34125E5E89E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942985" y="4123088"/>
            <a:ext cx="641171" cy="641171"/>
          </a:xfrm>
          <a:prstGeom prst="rect">
            <a:avLst/>
          </a:prstGeom>
        </p:spPr>
      </p:pic>
      <p:pic>
        <p:nvPicPr>
          <p:cNvPr id="48" name="Afbeelding 47">
            <a:extLst>
              <a:ext uri="{FF2B5EF4-FFF2-40B4-BE49-F238E27FC236}">
                <a16:creationId xmlns:a16="http://schemas.microsoft.com/office/drawing/2014/main" id="{BDA215C9-3E02-A795-9476-8ED7242AC812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065" b="25809"/>
          <a:stretch/>
        </p:blipFill>
        <p:spPr>
          <a:xfrm>
            <a:off x="8842527" y="5147521"/>
            <a:ext cx="1637551" cy="83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542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>
            <a:extLst>
              <a:ext uri="{FF2B5EF4-FFF2-40B4-BE49-F238E27FC236}">
                <a16:creationId xmlns:a16="http://schemas.microsoft.com/office/drawing/2014/main" id="{9A28C63B-C146-F4A5-2E85-25FA031B982F}"/>
              </a:ext>
            </a:extLst>
          </p:cNvPr>
          <p:cNvSpPr/>
          <p:nvPr/>
        </p:nvSpPr>
        <p:spPr>
          <a:xfrm>
            <a:off x="0" y="-70074"/>
            <a:ext cx="12192000" cy="6416724"/>
          </a:xfrm>
          <a:prstGeom prst="rect">
            <a:avLst/>
          </a:prstGeom>
          <a:solidFill>
            <a:srgbClr val="18611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5830C660-B297-B71C-5722-74B431D13ECA}"/>
              </a:ext>
            </a:extLst>
          </p:cNvPr>
          <p:cNvSpPr/>
          <p:nvPr/>
        </p:nvSpPr>
        <p:spPr>
          <a:xfrm>
            <a:off x="339612" y="391465"/>
            <a:ext cx="11412305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124C535E-58CD-9559-E27F-D8C52E33A0D4}"/>
              </a:ext>
            </a:extLst>
          </p:cNvPr>
          <p:cNvSpPr/>
          <p:nvPr/>
        </p:nvSpPr>
        <p:spPr>
          <a:xfrm>
            <a:off x="1510350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442" y="790946"/>
            <a:ext cx="11055671" cy="646331"/>
          </a:xfrm>
        </p:spPr>
        <p:txBody>
          <a:bodyPr/>
          <a:lstStyle/>
          <a:p>
            <a:r>
              <a:rPr lang="nl-NL" dirty="0"/>
              <a:t>UC/VoIP referenties om trots op te zijn!</a:t>
            </a:r>
            <a:endParaRPr lang="en-NL"/>
          </a:p>
        </p:txBody>
      </p:sp>
      <p:sp>
        <p:nvSpPr>
          <p:cNvPr id="100" name="Rounded Rectangle 35">
            <a:extLst>
              <a:ext uri="{FF2B5EF4-FFF2-40B4-BE49-F238E27FC236}">
                <a16:creationId xmlns:a16="http://schemas.microsoft.com/office/drawing/2014/main" id="{B8616895-A933-B585-65EC-78ED6A839E10}"/>
              </a:ext>
            </a:extLst>
          </p:cNvPr>
          <p:cNvSpPr/>
          <p:nvPr/>
        </p:nvSpPr>
        <p:spPr>
          <a:xfrm>
            <a:off x="3862947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Rounded Rectangle 35">
            <a:extLst>
              <a:ext uri="{FF2B5EF4-FFF2-40B4-BE49-F238E27FC236}">
                <a16:creationId xmlns:a16="http://schemas.microsoft.com/office/drawing/2014/main" id="{CBD72264-03C1-0E1D-307B-B3E547A604F4}"/>
              </a:ext>
            </a:extLst>
          </p:cNvPr>
          <p:cNvSpPr/>
          <p:nvPr/>
        </p:nvSpPr>
        <p:spPr>
          <a:xfrm>
            <a:off x="3860993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Rounded Rectangle 35">
            <a:extLst>
              <a:ext uri="{FF2B5EF4-FFF2-40B4-BE49-F238E27FC236}">
                <a16:creationId xmlns:a16="http://schemas.microsoft.com/office/drawing/2014/main" id="{9C895AD6-C1A7-9075-FE27-515B87019919}"/>
              </a:ext>
            </a:extLst>
          </p:cNvPr>
          <p:cNvSpPr/>
          <p:nvPr/>
        </p:nvSpPr>
        <p:spPr>
          <a:xfrm>
            <a:off x="3860993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" name="Rounded Rectangle 35">
            <a:extLst>
              <a:ext uri="{FF2B5EF4-FFF2-40B4-BE49-F238E27FC236}">
                <a16:creationId xmlns:a16="http://schemas.microsoft.com/office/drawing/2014/main" id="{BD97A3BC-2DDA-B887-4EC5-DC333EEA4B62}"/>
              </a:ext>
            </a:extLst>
          </p:cNvPr>
          <p:cNvSpPr/>
          <p:nvPr/>
        </p:nvSpPr>
        <p:spPr>
          <a:xfrm>
            <a:off x="3860993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Rounded Rectangle 35">
            <a:extLst>
              <a:ext uri="{FF2B5EF4-FFF2-40B4-BE49-F238E27FC236}">
                <a16:creationId xmlns:a16="http://schemas.microsoft.com/office/drawing/2014/main" id="{DCA0FC34-6079-BFBC-9DAA-AA9B94B9D9EC}"/>
              </a:ext>
            </a:extLst>
          </p:cNvPr>
          <p:cNvSpPr/>
          <p:nvPr/>
        </p:nvSpPr>
        <p:spPr>
          <a:xfrm>
            <a:off x="6205361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ounded Rectangle 35">
            <a:extLst>
              <a:ext uri="{FF2B5EF4-FFF2-40B4-BE49-F238E27FC236}">
                <a16:creationId xmlns:a16="http://schemas.microsoft.com/office/drawing/2014/main" id="{0E967300-D312-94B5-8B66-9F6AC3C0D802}"/>
              </a:ext>
            </a:extLst>
          </p:cNvPr>
          <p:cNvSpPr/>
          <p:nvPr/>
        </p:nvSpPr>
        <p:spPr>
          <a:xfrm>
            <a:off x="6205361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Rounded Rectangle 35">
            <a:extLst>
              <a:ext uri="{FF2B5EF4-FFF2-40B4-BE49-F238E27FC236}">
                <a16:creationId xmlns:a16="http://schemas.microsoft.com/office/drawing/2014/main" id="{8FA910F4-F7D3-8A5A-8D96-D0F1DF5327DA}"/>
              </a:ext>
            </a:extLst>
          </p:cNvPr>
          <p:cNvSpPr/>
          <p:nvPr/>
        </p:nvSpPr>
        <p:spPr>
          <a:xfrm>
            <a:off x="6205361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" name="Rounded Rectangle 35">
            <a:extLst>
              <a:ext uri="{FF2B5EF4-FFF2-40B4-BE49-F238E27FC236}">
                <a16:creationId xmlns:a16="http://schemas.microsoft.com/office/drawing/2014/main" id="{A5EFC0A8-C0FD-650F-E391-5BF6F24F3439}"/>
              </a:ext>
            </a:extLst>
          </p:cNvPr>
          <p:cNvSpPr/>
          <p:nvPr/>
        </p:nvSpPr>
        <p:spPr>
          <a:xfrm>
            <a:off x="6205361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Rounded Rectangle 35">
            <a:extLst>
              <a:ext uri="{FF2B5EF4-FFF2-40B4-BE49-F238E27FC236}">
                <a16:creationId xmlns:a16="http://schemas.microsoft.com/office/drawing/2014/main" id="{3EEE6E38-5E06-A9A4-A2B8-2B2B20F14FA9}"/>
              </a:ext>
            </a:extLst>
          </p:cNvPr>
          <p:cNvSpPr/>
          <p:nvPr/>
        </p:nvSpPr>
        <p:spPr>
          <a:xfrm>
            <a:off x="1518579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Rounded Rectangle 35">
            <a:extLst>
              <a:ext uri="{FF2B5EF4-FFF2-40B4-BE49-F238E27FC236}">
                <a16:creationId xmlns:a16="http://schemas.microsoft.com/office/drawing/2014/main" id="{022BC4AA-27D3-D91F-2FA6-5764032433DA}"/>
              </a:ext>
            </a:extLst>
          </p:cNvPr>
          <p:cNvSpPr/>
          <p:nvPr/>
        </p:nvSpPr>
        <p:spPr>
          <a:xfrm>
            <a:off x="1518578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Rounded Rectangle 35">
            <a:extLst>
              <a:ext uri="{FF2B5EF4-FFF2-40B4-BE49-F238E27FC236}">
                <a16:creationId xmlns:a16="http://schemas.microsoft.com/office/drawing/2014/main" id="{84F94273-374B-4F71-F4C8-580C29D2B382}"/>
              </a:ext>
            </a:extLst>
          </p:cNvPr>
          <p:cNvSpPr/>
          <p:nvPr/>
        </p:nvSpPr>
        <p:spPr>
          <a:xfrm>
            <a:off x="1516625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" name="Rounded Rectangle 35">
            <a:extLst>
              <a:ext uri="{FF2B5EF4-FFF2-40B4-BE49-F238E27FC236}">
                <a16:creationId xmlns:a16="http://schemas.microsoft.com/office/drawing/2014/main" id="{8053A666-6130-EB55-C3BC-3EAA82BD81BF}"/>
              </a:ext>
            </a:extLst>
          </p:cNvPr>
          <p:cNvSpPr/>
          <p:nvPr/>
        </p:nvSpPr>
        <p:spPr>
          <a:xfrm>
            <a:off x="8547775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Rounded Rectangle 35">
            <a:extLst>
              <a:ext uri="{FF2B5EF4-FFF2-40B4-BE49-F238E27FC236}">
                <a16:creationId xmlns:a16="http://schemas.microsoft.com/office/drawing/2014/main" id="{E5DD21EA-D8C4-A66E-98CE-D17BEC52EEE4}"/>
              </a:ext>
            </a:extLst>
          </p:cNvPr>
          <p:cNvSpPr/>
          <p:nvPr/>
        </p:nvSpPr>
        <p:spPr>
          <a:xfrm>
            <a:off x="8547775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Rounded Rectangle 35">
            <a:extLst>
              <a:ext uri="{FF2B5EF4-FFF2-40B4-BE49-F238E27FC236}">
                <a16:creationId xmlns:a16="http://schemas.microsoft.com/office/drawing/2014/main" id="{C7AE35C0-6EF0-A51C-BBF7-DAFA8D648535}"/>
              </a:ext>
            </a:extLst>
          </p:cNvPr>
          <p:cNvSpPr/>
          <p:nvPr/>
        </p:nvSpPr>
        <p:spPr>
          <a:xfrm>
            <a:off x="8547775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Rounded Rectangle 35">
            <a:extLst>
              <a:ext uri="{FF2B5EF4-FFF2-40B4-BE49-F238E27FC236}">
                <a16:creationId xmlns:a16="http://schemas.microsoft.com/office/drawing/2014/main" id="{753A1E3A-EBDF-CCD2-6A9B-7CE83BBE07E9}"/>
              </a:ext>
            </a:extLst>
          </p:cNvPr>
          <p:cNvSpPr/>
          <p:nvPr/>
        </p:nvSpPr>
        <p:spPr>
          <a:xfrm>
            <a:off x="8547775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3" name="Afbeelding 32">
            <a:extLst>
              <a:ext uri="{FF2B5EF4-FFF2-40B4-BE49-F238E27FC236}">
                <a16:creationId xmlns:a16="http://schemas.microsoft.com/office/drawing/2014/main" id="{889599B8-13EB-A265-7734-12548323B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9142" y="1861123"/>
            <a:ext cx="1010619" cy="638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57">
            <a:extLst>
              <a:ext uri="{FF2B5EF4-FFF2-40B4-BE49-F238E27FC236}">
                <a16:creationId xmlns:a16="http://schemas.microsoft.com/office/drawing/2014/main" id="{D4D6FFF2-5751-4EB3-4C10-FFB292E96B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9142" y="3185528"/>
            <a:ext cx="1141093" cy="246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Afbeelding 34">
            <a:extLst>
              <a:ext uri="{FF2B5EF4-FFF2-40B4-BE49-F238E27FC236}">
                <a16:creationId xmlns:a16="http://schemas.microsoft.com/office/drawing/2014/main" id="{F11C3286-75E3-D3E9-EA6A-774CEDE3943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0299" y="4193528"/>
            <a:ext cx="1317723" cy="53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9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B422BED5-7A76-608C-6ECC-77CF04BCA0B5}"/>
              </a:ext>
            </a:extLst>
          </p:cNvPr>
          <p:cNvSpPr/>
          <p:nvPr/>
        </p:nvSpPr>
        <p:spPr>
          <a:xfrm>
            <a:off x="0" y="-70074"/>
            <a:ext cx="12192000" cy="6416724"/>
          </a:xfrm>
          <a:prstGeom prst="rect">
            <a:avLst/>
          </a:prstGeom>
          <a:solidFill>
            <a:srgbClr val="18611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6" name="Rounded Rectangle 1">
            <a:extLst>
              <a:ext uri="{FF2B5EF4-FFF2-40B4-BE49-F238E27FC236}">
                <a16:creationId xmlns:a16="http://schemas.microsoft.com/office/drawing/2014/main" id="{A8CB08CA-F9AA-54D2-B32D-2288978CFAD2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124C535E-58CD-9559-E27F-D8C52E33A0D4}"/>
              </a:ext>
            </a:extLst>
          </p:cNvPr>
          <p:cNvSpPr/>
          <p:nvPr/>
        </p:nvSpPr>
        <p:spPr>
          <a:xfrm>
            <a:off x="1510350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442" y="793248"/>
            <a:ext cx="6595235" cy="646331"/>
          </a:xfrm>
        </p:spPr>
        <p:txBody>
          <a:bodyPr/>
          <a:lstStyle/>
          <a:p>
            <a:r>
              <a:rPr lang="nl-NL" dirty="0"/>
              <a:t>Klanten om trots op te zijn!</a:t>
            </a:r>
            <a:endParaRPr lang="en-NL"/>
          </a:p>
        </p:txBody>
      </p:sp>
      <p:sp>
        <p:nvSpPr>
          <p:cNvPr id="100" name="Rounded Rectangle 35">
            <a:extLst>
              <a:ext uri="{FF2B5EF4-FFF2-40B4-BE49-F238E27FC236}">
                <a16:creationId xmlns:a16="http://schemas.microsoft.com/office/drawing/2014/main" id="{B8616895-A933-B585-65EC-78ED6A839E10}"/>
              </a:ext>
            </a:extLst>
          </p:cNvPr>
          <p:cNvSpPr/>
          <p:nvPr/>
        </p:nvSpPr>
        <p:spPr>
          <a:xfrm>
            <a:off x="3862947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Rounded Rectangle 35">
            <a:extLst>
              <a:ext uri="{FF2B5EF4-FFF2-40B4-BE49-F238E27FC236}">
                <a16:creationId xmlns:a16="http://schemas.microsoft.com/office/drawing/2014/main" id="{CBD72264-03C1-0E1D-307B-B3E547A604F4}"/>
              </a:ext>
            </a:extLst>
          </p:cNvPr>
          <p:cNvSpPr/>
          <p:nvPr/>
        </p:nvSpPr>
        <p:spPr>
          <a:xfrm>
            <a:off x="3860993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Rounded Rectangle 35">
            <a:extLst>
              <a:ext uri="{FF2B5EF4-FFF2-40B4-BE49-F238E27FC236}">
                <a16:creationId xmlns:a16="http://schemas.microsoft.com/office/drawing/2014/main" id="{9C895AD6-C1A7-9075-FE27-515B87019919}"/>
              </a:ext>
            </a:extLst>
          </p:cNvPr>
          <p:cNvSpPr/>
          <p:nvPr/>
        </p:nvSpPr>
        <p:spPr>
          <a:xfrm>
            <a:off x="3860993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" name="Rounded Rectangle 35">
            <a:extLst>
              <a:ext uri="{FF2B5EF4-FFF2-40B4-BE49-F238E27FC236}">
                <a16:creationId xmlns:a16="http://schemas.microsoft.com/office/drawing/2014/main" id="{BD97A3BC-2DDA-B887-4EC5-DC333EEA4B62}"/>
              </a:ext>
            </a:extLst>
          </p:cNvPr>
          <p:cNvSpPr/>
          <p:nvPr/>
        </p:nvSpPr>
        <p:spPr>
          <a:xfrm>
            <a:off x="3860993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Rounded Rectangle 35">
            <a:extLst>
              <a:ext uri="{FF2B5EF4-FFF2-40B4-BE49-F238E27FC236}">
                <a16:creationId xmlns:a16="http://schemas.microsoft.com/office/drawing/2014/main" id="{DCA0FC34-6079-BFBC-9DAA-AA9B94B9D9EC}"/>
              </a:ext>
            </a:extLst>
          </p:cNvPr>
          <p:cNvSpPr/>
          <p:nvPr/>
        </p:nvSpPr>
        <p:spPr>
          <a:xfrm>
            <a:off x="6205361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ounded Rectangle 35">
            <a:extLst>
              <a:ext uri="{FF2B5EF4-FFF2-40B4-BE49-F238E27FC236}">
                <a16:creationId xmlns:a16="http://schemas.microsoft.com/office/drawing/2014/main" id="{0E967300-D312-94B5-8B66-9F6AC3C0D802}"/>
              </a:ext>
            </a:extLst>
          </p:cNvPr>
          <p:cNvSpPr/>
          <p:nvPr/>
        </p:nvSpPr>
        <p:spPr>
          <a:xfrm>
            <a:off x="6205361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Rounded Rectangle 35">
            <a:extLst>
              <a:ext uri="{FF2B5EF4-FFF2-40B4-BE49-F238E27FC236}">
                <a16:creationId xmlns:a16="http://schemas.microsoft.com/office/drawing/2014/main" id="{8FA910F4-F7D3-8A5A-8D96-D0F1DF5327DA}"/>
              </a:ext>
            </a:extLst>
          </p:cNvPr>
          <p:cNvSpPr/>
          <p:nvPr/>
        </p:nvSpPr>
        <p:spPr>
          <a:xfrm>
            <a:off x="6205361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" name="Rounded Rectangle 35">
            <a:extLst>
              <a:ext uri="{FF2B5EF4-FFF2-40B4-BE49-F238E27FC236}">
                <a16:creationId xmlns:a16="http://schemas.microsoft.com/office/drawing/2014/main" id="{A5EFC0A8-C0FD-650F-E391-5BF6F24F3439}"/>
              </a:ext>
            </a:extLst>
          </p:cNvPr>
          <p:cNvSpPr/>
          <p:nvPr/>
        </p:nvSpPr>
        <p:spPr>
          <a:xfrm>
            <a:off x="6205361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Rounded Rectangle 35">
            <a:extLst>
              <a:ext uri="{FF2B5EF4-FFF2-40B4-BE49-F238E27FC236}">
                <a16:creationId xmlns:a16="http://schemas.microsoft.com/office/drawing/2014/main" id="{3EEE6E38-5E06-A9A4-A2B8-2B2B20F14FA9}"/>
              </a:ext>
            </a:extLst>
          </p:cNvPr>
          <p:cNvSpPr/>
          <p:nvPr/>
        </p:nvSpPr>
        <p:spPr>
          <a:xfrm>
            <a:off x="1518579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Rounded Rectangle 35">
            <a:extLst>
              <a:ext uri="{FF2B5EF4-FFF2-40B4-BE49-F238E27FC236}">
                <a16:creationId xmlns:a16="http://schemas.microsoft.com/office/drawing/2014/main" id="{022BC4AA-27D3-D91F-2FA6-5764032433DA}"/>
              </a:ext>
            </a:extLst>
          </p:cNvPr>
          <p:cNvSpPr/>
          <p:nvPr/>
        </p:nvSpPr>
        <p:spPr>
          <a:xfrm>
            <a:off x="1518578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Rounded Rectangle 35">
            <a:extLst>
              <a:ext uri="{FF2B5EF4-FFF2-40B4-BE49-F238E27FC236}">
                <a16:creationId xmlns:a16="http://schemas.microsoft.com/office/drawing/2014/main" id="{84F94273-374B-4F71-F4C8-580C29D2B382}"/>
              </a:ext>
            </a:extLst>
          </p:cNvPr>
          <p:cNvSpPr/>
          <p:nvPr/>
        </p:nvSpPr>
        <p:spPr>
          <a:xfrm>
            <a:off x="1516625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" name="Rounded Rectangle 35">
            <a:extLst>
              <a:ext uri="{FF2B5EF4-FFF2-40B4-BE49-F238E27FC236}">
                <a16:creationId xmlns:a16="http://schemas.microsoft.com/office/drawing/2014/main" id="{8053A666-6130-EB55-C3BC-3EAA82BD81BF}"/>
              </a:ext>
            </a:extLst>
          </p:cNvPr>
          <p:cNvSpPr/>
          <p:nvPr/>
        </p:nvSpPr>
        <p:spPr>
          <a:xfrm>
            <a:off x="8547775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Rounded Rectangle 35">
            <a:extLst>
              <a:ext uri="{FF2B5EF4-FFF2-40B4-BE49-F238E27FC236}">
                <a16:creationId xmlns:a16="http://schemas.microsoft.com/office/drawing/2014/main" id="{E5DD21EA-D8C4-A66E-98CE-D17BEC52EEE4}"/>
              </a:ext>
            </a:extLst>
          </p:cNvPr>
          <p:cNvSpPr/>
          <p:nvPr/>
        </p:nvSpPr>
        <p:spPr>
          <a:xfrm>
            <a:off x="8547775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Rounded Rectangle 35">
            <a:extLst>
              <a:ext uri="{FF2B5EF4-FFF2-40B4-BE49-F238E27FC236}">
                <a16:creationId xmlns:a16="http://schemas.microsoft.com/office/drawing/2014/main" id="{C7AE35C0-6EF0-A51C-BBF7-DAFA8D648535}"/>
              </a:ext>
            </a:extLst>
          </p:cNvPr>
          <p:cNvSpPr/>
          <p:nvPr/>
        </p:nvSpPr>
        <p:spPr>
          <a:xfrm>
            <a:off x="8547775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Rounded Rectangle 35">
            <a:extLst>
              <a:ext uri="{FF2B5EF4-FFF2-40B4-BE49-F238E27FC236}">
                <a16:creationId xmlns:a16="http://schemas.microsoft.com/office/drawing/2014/main" id="{753A1E3A-EBDF-CCD2-6A9B-7CE83BBE07E9}"/>
              </a:ext>
            </a:extLst>
          </p:cNvPr>
          <p:cNvSpPr/>
          <p:nvPr/>
        </p:nvSpPr>
        <p:spPr>
          <a:xfrm>
            <a:off x="8547775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3" name="Afbeelding 32">
            <a:extLst>
              <a:ext uri="{FF2B5EF4-FFF2-40B4-BE49-F238E27FC236}">
                <a16:creationId xmlns:a16="http://schemas.microsoft.com/office/drawing/2014/main" id="{889599B8-13EB-A265-7734-12548323B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9142" y="1861123"/>
            <a:ext cx="1010619" cy="638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57">
            <a:extLst>
              <a:ext uri="{FF2B5EF4-FFF2-40B4-BE49-F238E27FC236}">
                <a16:creationId xmlns:a16="http://schemas.microsoft.com/office/drawing/2014/main" id="{D4D6FFF2-5751-4EB3-4C10-FFB292E96B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9142" y="3185528"/>
            <a:ext cx="1141093" cy="246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Afbeelding 34">
            <a:extLst>
              <a:ext uri="{FF2B5EF4-FFF2-40B4-BE49-F238E27FC236}">
                <a16:creationId xmlns:a16="http://schemas.microsoft.com/office/drawing/2014/main" id="{F11C3286-75E3-D3E9-EA6A-774CEDE3943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0299" y="4193528"/>
            <a:ext cx="1317723" cy="531582"/>
          </a:xfrm>
          <a:prstGeom prst="rect">
            <a:avLst/>
          </a:prstGeom>
        </p:spPr>
      </p:pic>
      <p:pic>
        <p:nvPicPr>
          <p:cNvPr id="25" name="Afbeelding 23" descr="Afbeelding met symbool, clipart, Graphics, logo&#10;&#10;Automatisch gegenereerde beschrijving">
            <a:extLst>
              <a:ext uri="{FF2B5EF4-FFF2-40B4-BE49-F238E27FC236}">
                <a16:creationId xmlns:a16="http://schemas.microsoft.com/office/drawing/2014/main" id="{877AC817-557D-99D2-9974-9918DBED7A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04412" y="5261876"/>
            <a:ext cx="739474" cy="695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Afbeelding 25" descr="Afbeelding met tekst, Lettertype, symbool, logo&#10;&#10;Automatisch gegenereerde beschrijving">
            <a:extLst>
              <a:ext uri="{FF2B5EF4-FFF2-40B4-BE49-F238E27FC236}">
                <a16:creationId xmlns:a16="http://schemas.microsoft.com/office/drawing/2014/main" id="{89EDB2BD-5A92-2515-C7AE-B25073D75B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28269" y="5459318"/>
            <a:ext cx="1580212" cy="328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Afbeelding 26" descr="Afbeelding met Lettertype, Graphics, tekst, logo&#10;&#10;Automatisch gegenereerde beschrijving">
            <a:extLst>
              <a:ext uri="{FF2B5EF4-FFF2-40B4-BE49-F238E27FC236}">
                <a16:creationId xmlns:a16="http://schemas.microsoft.com/office/drawing/2014/main" id="{A810DF62-4825-4156-CFD9-211DE59A7F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3755" y="5420185"/>
            <a:ext cx="1344267" cy="400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Afbeelding 27" descr="Afbeelding met Lettertype, Graphics, logo, tekst&#10;&#10;Automatisch gegenereerde beschrijving">
            <a:extLst>
              <a:ext uri="{FF2B5EF4-FFF2-40B4-BE49-F238E27FC236}">
                <a16:creationId xmlns:a16="http://schemas.microsoft.com/office/drawing/2014/main" id="{153C5B45-78CB-C7A7-051E-8FB1341FA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42123" y="5501177"/>
            <a:ext cx="1389744" cy="289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Afbeelding 28">
            <a:extLst>
              <a:ext uri="{FF2B5EF4-FFF2-40B4-BE49-F238E27FC236}">
                <a16:creationId xmlns:a16="http://schemas.microsoft.com/office/drawing/2014/main" id="{5C6BC942-3C54-2FCE-DAFF-474F5EFA16F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5558" y="3151680"/>
            <a:ext cx="1627076" cy="313885"/>
          </a:xfrm>
          <a:prstGeom prst="rect">
            <a:avLst/>
          </a:prstGeom>
        </p:spPr>
      </p:pic>
      <p:pic>
        <p:nvPicPr>
          <p:cNvPr id="30" name="Afbeelding 29">
            <a:extLst>
              <a:ext uri="{FF2B5EF4-FFF2-40B4-BE49-F238E27FC236}">
                <a16:creationId xmlns:a16="http://schemas.microsoft.com/office/drawing/2014/main" id="{FB513F9C-ACD1-08F2-E6F6-4E46328375A7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1863" y="4253876"/>
            <a:ext cx="1544573" cy="413781"/>
          </a:xfrm>
          <a:prstGeom prst="rect">
            <a:avLst/>
          </a:prstGeom>
        </p:spPr>
      </p:pic>
      <p:pic>
        <p:nvPicPr>
          <p:cNvPr id="31" name="Picture 14" descr="IJsselheem - Netwerk Dementie IJssel-Vecht">
            <a:extLst>
              <a:ext uri="{FF2B5EF4-FFF2-40B4-BE49-F238E27FC236}">
                <a16:creationId xmlns:a16="http://schemas.microsoft.com/office/drawing/2014/main" id="{3EFA7C84-E9C4-1760-D57B-1CF8338F02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2045" y="3062197"/>
            <a:ext cx="1164210" cy="492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808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7E8F7E9C-BB67-219D-94E1-15854DAB3ED1}"/>
              </a:ext>
            </a:extLst>
          </p:cNvPr>
          <p:cNvSpPr/>
          <p:nvPr/>
        </p:nvSpPr>
        <p:spPr>
          <a:xfrm>
            <a:off x="0" y="-70074"/>
            <a:ext cx="12192000" cy="6416724"/>
          </a:xfrm>
          <a:prstGeom prst="rect">
            <a:avLst/>
          </a:prstGeom>
          <a:solidFill>
            <a:srgbClr val="18611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4" name="Rounded Rectangle 1">
            <a:extLst>
              <a:ext uri="{FF2B5EF4-FFF2-40B4-BE49-F238E27FC236}">
                <a16:creationId xmlns:a16="http://schemas.microsoft.com/office/drawing/2014/main" id="{C6E8F434-C72E-5A62-CCA2-13EADF80AD34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124C535E-58CD-9559-E27F-D8C52E33A0D4}"/>
              </a:ext>
            </a:extLst>
          </p:cNvPr>
          <p:cNvSpPr/>
          <p:nvPr/>
        </p:nvSpPr>
        <p:spPr>
          <a:xfrm>
            <a:off x="1510350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0" name="Rounded Rectangle 35">
            <a:extLst>
              <a:ext uri="{FF2B5EF4-FFF2-40B4-BE49-F238E27FC236}">
                <a16:creationId xmlns:a16="http://schemas.microsoft.com/office/drawing/2014/main" id="{B8616895-A933-B585-65EC-78ED6A839E10}"/>
              </a:ext>
            </a:extLst>
          </p:cNvPr>
          <p:cNvSpPr/>
          <p:nvPr/>
        </p:nvSpPr>
        <p:spPr>
          <a:xfrm>
            <a:off x="3862947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Rounded Rectangle 35">
            <a:extLst>
              <a:ext uri="{FF2B5EF4-FFF2-40B4-BE49-F238E27FC236}">
                <a16:creationId xmlns:a16="http://schemas.microsoft.com/office/drawing/2014/main" id="{CBD72264-03C1-0E1D-307B-B3E547A604F4}"/>
              </a:ext>
            </a:extLst>
          </p:cNvPr>
          <p:cNvSpPr/>
          <p:nvPr/>
        </p:nvSpPr>
        <p:spPr>
          <a:xfrm>
            <a:off x="3860993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Rounded Rectangle 35">
            <a:extLst>
              <a:ext uri="{FF2B5EF4-FFF2-40B4-BE49-F238E27FC236}">
                <a16:creationId xmlns:a16="http://schemas.microsoft.com/office/drawing/2014/main" id="{9C895AD6-C1A7-9075-FE27-515B87019919}"/>
              </a:ext>
            </a:extLst>
          </p:cNvPr>
          <p:cNvSpPr/>
          <p:nvPr/>
        </p:nvSpPr>
        <p:spPr>
          <a:xfrm>
            <a:off x="3860993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" name="Rounded Rectangle 35">
            <a:extLst>
              <a:ext uri="{FF2B5EF4-FFF2-40B4-BE49-F238E27FC236}">
                <a16:creationId xmlns:a16="http://schemas.microsoft.com/office/drawing/2014/main" id="{BD97A3BC-2DDA-B887-4EC5-DC333EEA4B62}"/>
              </a:ext>
            </a:extLst>
          </p:cNvPr>
          <p:cNvSpPr/>
          <p:nvPr/>
        </p:nvSpPr>
        <p:spPr>
          <a:xfrm>
            <a:off x="3860993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Rounded Rectangle 35">
            <a:extLst>
              <a:ext uri="{FF2B5EF4-FFF2-40B4-BE49-F238E27FC236}">
                <a16:creationId xmlns:a16="http://schemas.microsoft.com/office/drawing/2014/main" id="{DCA0FC34-6079-BFBC-9DAA-AA9B94B9D9EC}"/>
              </a:ext>
            </a:extLst>
          </p:cNvPr>
          <p:cNvSpPr/>
          <p:nvPr/>
        </p:nvSpPr>
        <p:spPr>
          <a:xfrm>
            <a:off x="6205361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ounded Rectangle 35">
            <a:extLst>
              <a:ext uri="{FF2B5EF4-FFF2-40B4-BE49-F238E27FC236}">
                <a16:creationId xmlns:a16="http://schemas.microsoft.com/office/drawing/2014/main" id="{0E967300-D312-94B5-8B66-9F6AC3C0D802}"/>
              </a:ext>
            </a:extLst>
          </p:cNvPr>
          <p:cNvSpPr/>
          <p:nvPr/>
        </p:nvSpPr>
        <p:spPr>
          <a:xfrm>
            <a:off x="6205361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Rounded Rectangle 35">
            <a:extLst>
              <a:ext uri="{FF2B5EF4-FFF2-40B4-BE49-F238E27FC236}">
                <a16:creationId xmlns:a16="http://schemas.microsoft.com/office/drawing/2014/main" id="{8FA910F4-F7D3-8A5A-8D96-D0F1DF5327DA}"/>
              </a:ext>
            </a:extLst>
          </p:cNvPr>
          <p:cNvSpPr/>
          <p:nvPr/>
        </p:nvSpPr>
        <p:spPr>
          <a:xfrm>
            <a:off x="6205361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" name="Rounded Rectangle 35">
            <a:extLst>
              <a:ext uri="{FF2B5EF4-FFF2-40B4-BE49-F238E27FC236}">
                <a16:creationId xmlns:a16="http://schemas.microsoft.com/office/drawing/2014/main" id="{A5EFC0A8-C0FD-650F-E391-5BF6F24F3439}"/>
              </a:ext>
            </a:extLst>
          </p:cNvPr>
          <p:cNvSpPr/>
          <p:nvPr/>
        </p:nvSpPr>
        <p:spPr>
          <a:xfrm>
            <a:off x="6205361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Rounded Rectangle 35">
            <a:extLst>
              <a:ext uri="{FF2B5EF4-FFF2-40B4-BE49-F238E27FC236}">
                <a16:creationId xmlns:a16="http://schemas.microsoft.com/office/drawing/2014/main" id="{3EEE6E38-5E06-A9A4-A2B8-2B2B20F14FA9}"/>
              </a:ext>
            </a:extLst>
          </p:cNvPr>
          <p:cNvSpPr/>
          <p:nvPr/>
        </p:nvSpPr>
        <p:spPr>
          <a:xfrm>
            <a:off x="1518579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Rounded Rectangle 35">
            <a:extLst>
              <a:ext uri="{FF2B5EF4-FFF2-40B4-BE49-F238E27FC236}">
                <a16:creationId xmlns:a16="http://schemas.microsoft.com/office/drawing/2014/main" id="{022BC4AA-27D3-D91F-2FA6-5764032433DA}"/>
              </a:ext>
            </a:extLst>
          </p:cNvPr>
          <p:cNvSpPr/>
          <p:nvPr/>
        </p:nvSpPr>
        <p:spPr>
          <a:xfrm>
            <a:off x="1518578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Rounded Rectangle 35">
            <a:extLst>
              <a:ext uri="{FF2B5EF4-FFF2-40B4-BE49-F238E27FC236}">
                <a16:creationId xmlns:a16="http://schemas.microsoft.com/office/drawing/2014/main" id="{84F94273-374B-4F71-F4C8-580C29D2B382}"/>
              </a:ext>
            </a:extLst>
          </p:cNvPr>
          <p:cNvSpPr/>
          <p:nvPr/>
        </p:nvSpPr>
        <p:spPr>
          <a:xfrm>
            <a:off x="1516625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" name="Rounded Rectangle 35">
            <a:extLst>
              <a:ext uri="{FF2B5EF4-FFF2-40B4-BE49-F238E27FC236}">
                <a16:creationId xmlns:a16="http://schemas.microsoft.com/office/drawing/2014/main" id="{8053A666-6130-EB55-C3BC-3EAA82BD81BF}"/>
              </a:ext>
            </a:extLst>
          </p:cNvPr>
          <p:cNvSpPr/>
          <p:nvPr/>
        </p:nvSpPr>
        <p:spPr>
          <a:xfrm>
            <a:off x="8547775" y="510891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Rounded Rectangle 35">
            <a:extLst>
              <a:ext uri="{FF2B5EF4-FFF2-40B4-BE49-F238E27FC236}">
                <a16:creationId xmlns:a16="http://schemas.microsoft.com/office/drawing/2014/main" id="{E5DD21EA-D8C4-A66E-98CE-D17BEC52EEE4}"/>
              </a:ext>
            </a:extLst>
          </p:cNvPr>
          <p:cNvSpPr/>
          <p:nvPr/>
        </p:nvSpPr>
        <p:spPr>
          <a:xfrm>
            <a:off x="8547775" y="1652479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Rounded Rectangle 35">
            <a:extLst>
              <a:ext uri="{FF2B5EF4-FFF2-40B4-BE49-F238E27FC236}">
                <a16:creationId xmlns:a16="http://schemas.microsoft.com/office/drawing/2014/main" id="{C7AE35C0-6EF0-A51C-BBF7-DAFA8D648535}"/>
              </a:ext>
            </a:extLst>
          </p:cNvPr>
          <p:cNvSpPr/>
          <p:nvPr/>
        </p:nvSpPr>
        <p:spPr>
          <a:xfrm>
            <a:off x="8547775" y="280462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Rounded Rectangle 35">
            <a:extLst>
              <a:ext uri="{FF2B5EF4-FFF2-40B4-BE49-F238E27FC236}">
                <a16:creationId xmlns:a16="http://schemas.microsoft.com/office/drawing/2014/main" id="{753A1E3A-EBDF-CCD2-6A9B-7CE83BBE07E9}"/>
              </a:ext>
            </a:extLst>
          </p:cNvPr>
          <p:cNvSpPr/>
          <p:nvPr/>
        </p:nvSpPr>
        <p:spPr>
          <a:xfrm>
            <a:off x="8547775" y="395676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2" name="Afbeelding 31">
            <a:extLst>
              <a:ext uri="{FF2B5EF4-FFF2-40B4-BE49-F238E27FC236}">
                <a16:creationId xmlns:a16="http://schemas.microsoft.com/office/drawing/2014/main" id="{0DBD6738-11BA-58A0-FE3D-B8D931FF89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5609" y="1873319"/>
            <a:ext cx="1369383" cy="614992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9064986-7F06-72F5-948C-FB4947F58ACD}"/>
              </a:ext>
            </a:extLst>
          </p:cNvPr>
          <p:cNvSpPr txBox="1">
            <a:spLocks/>
          </p:cNvSpPr>
          <p:nvPr/>
        </p:nvSpPr>
        <p:spPr>
          <a:xfrm>
            <a:off x="512442" y="793248"/>
            <a:ext cx="110556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 b="1" i="0" kern="1200">
                <a:solidFill>
                  <a:schemeClr val="tx1"/>
                </a:solidFill>
                <a:latin typeface="Archivo" pitchFamily="2" charset="77"/>
                <a:ea typeface="+mn-ea"/>
                <a:cs typeface="Archivo" pitchFamily="2" charset="77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4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chivo" pitchFamily="2" charset="77"/>
                <a:ea typeface="+mn-ea"/>
                <a:cs typeface="Archivo" pitchFamily="2" charset="77"/>
              </a:rPr>
              <a:t>Relaties in Detachering om trots op te zijn!</a:t>
            </a:r>
            <a:endParaRPr kumimoji="0" lang="en-NL" sz="4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chivo" pitchFamily="2" charset="77"/>
              <a:ea typeface="+mn-ea"/>
              <a:cs typeface="Archiv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7488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2EE71B9-AB36-8C65-C322-EB5418A958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5605" y="1144740"/>
            <a:ext cx="6394752" cy="867930"/>
          </a:xfrm>
        </p:spPr>
        <p:txBody>
          <a:bodyPr/>
          <a:lstStyle/>
          <a:p>
            <a:r>
              <a:rPr lang="nl-NL"/>
              <a:t>Organisatie</a:t>
            </a:r>
          </a:p>
        </p:txBody>
      </p:sp>
    </p:spTree>
    <p:extLst>
      <p:ext uri="{BB962C8B-B14F-4D97-AF65-F5344CB8AC3E}">
        <p14:creationId xmlns:p14="http://schemas.microsoft.com/office/powerpoint/2010/main" val="50419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DA3F582-13EC-38E9-6DFC-64F228ECEA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/>
              <a:t> 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2905AF-9594-9B2D-1ED6-5627EEF775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5605" y="1144740"/>
            <a:ext cx="6183103" cy="1643527"/>
          </a:xfrm>
        </p:spPr>
        <p:txBody>
          <a:bodyPr/>
          <a:lstStyle/>
          <a:p>
            <a:r>
              <a:rPr lang="en-GB" dirty="0"/>
              <a:t>Wat we </a:t>
            </a:r>
            <a:r>
              <a:rPr lang="en-GB" dirty="0" err="1"/>
              <a:t>vandaag</a:t>
            </a:r>
            <a:r>
              <a:rPr lang="en-GB" dirty="0"/>
              <a:t> </a:t>
            </a:r>
            <a:r>
              <a:rPr lang="en-GB" dirty="0" err="1"/>
              <a:t>willen</a:t>
            </a:r>
            <a:r>
              <a:rPr lang="en-GB" dirty="0"/>
              <a:t> </a:t>
            </a:r>
            <a:r>
              <a:rPr lang="en-GB" dirty="0" err="1"/>
              <a:t>bespreken</a:t>
            </a:r>
            <a:r>
              <a:rPr lang="en-GB" dirty="0"/>
              <a:t>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BE79DB-92F0-F1F6-B30D-E58D48FCC8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l-NL"/>
              <a:t>4</a:t>
            </a:r>
            <a:endParaRPr lang="en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F91FE1-94F9-D72F-4F09-457383B68A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XXX</a:t>
            </a:r>
            <a:endParaRPr lang="en-NL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BA76B51-BCFD-FC33-2765-ED5E736E5F2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NL"/>
              <a:t>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6A8E2DE-A1B0-9DE0-CCE5-8015FC8603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nl-NL" dirty="0"/>
              <a:t>Over ons</a:t>
            </a:r>
            <a:endParaRPr lang="en-NL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4A8B58-B4F2-8A7B-4638-DF0FAC8E16B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NL"/>
              <a:t>2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1AF655D-FA62-657E-E1B6-50B758C7587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nl-NL"/>
              <a:t>Sectoren</a:t>
            </a:r>
            <a:endParaRPr lang="en-NL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CBD9838-4605-CF1C-B5BE-8F7024ABF88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nl-NL"/>
              <a:t>3</a:t>
            </a:r>
            <a:endParaRPr lang="en-NL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76F5AD4-32A5-1BDB-3974-20D4CD80F03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nl-NL"/>
              <a:t>Organisatie</a:t>
            </a:r>
            <a:endParaRPr lang="en-NL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F2F7904-A591-B71D-85B1-A856ECED9F5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nl-NL" dirty="0"/>
              <a:t>5</a:t>
            </a:r>
            <a:endParaRPr lang="en-NL" dirty="0"/>
          </a:p>
        </p:txBody>
      </p:sp>
      <p:pic>
        <p:nvPicPr>
          <p:cNvPr id="6" name="Picture 5" descr="A blue square with white lines&#10;&#10;Description automatically generated">
            <a:extLst>
              <a:ext uri="{FF2B5EF4-FFF2-40B4-BE49-F238E27FC236}">
                <a16:creationId xmlns:a16="http://schemas.microsoft.com/office/drawing/2014/main" id="{D8349209-E60D-F3BE-29B6-DC422FA8FE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920000">
            <a:off x="7572942" y="714137"/>
            <a:ext cx="1463406" cy="71072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1804E80-426F-A809-4E20-28BFD70268A6}"/>
              </a:ext>
            </a:extLst>
          </p:cNvPr>
          <p:cNvSpPr txBox="1">
            <a:spLocks/>
          </p:cNvSpPr>
          <p:nvPr/>
        </p:nvSpPr>
        <p:spPr>
          <a:xfrm>
            <a:off x="9472010" y="5974659"/>
            <a:ext cx="2108802" cy="2862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Archivo" pitchFamily="2" charset="77"/>
                <a:ea typeface="+mn-ea"/>
                <a:cs typeface="Archivo" pitchFamily="2" charset="77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chivo" pitchFamily="2" charset="77"/>
                <a:ea typeface="+mn-ea"/>
                <a:cs typeface="Archivo" pitchFamily="2" charset="77"/>
              </a:rPr>
              <a:t>Contact</a:t>
            </a:r>
            <a:endParaRPr kumimoji="0" lang="en-NL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chivo" pitchFamily="2" charset="77"/>
              <a:ea typeface="+mn-ea"/>
              <a:cs typeface="Archiv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1820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9D89F92A-ED22-737D-4E69-ACA5138C40B6}"/>
              </a:ext>
            </a:extLst>
          </p:cNvPr>
          <p:cNvSpPr/>
          <p:nvPr/>
        </p:nvSpPr>
        <p:spPr>
          <a:xfrm>
            <a:off x="0" y="0"/>
            <a:ext cx="12192000" cy="6345215"/>
          </a:xfrm>
          <a:prstGeom prst="rect">
            <a:avLst/>
          </a:prstGeom>
          <a:solidFill>
            <a:srgbClr val="171A6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D176DEA2-6349-B07C-3BEC-8A547BFABAA7}"/>
              </a:ext>
            </a:extLst>
          </p:cNvPr>
          <p:cNvSpPr/>
          <p:nvPr/>
        </p:nvSpPr>
        <p:spPr>
          <a:xfrm>
            <a:off x="339612" y="391465"/>
            <a:ext cx="11519308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4417" y="1091800"/>
            <a:ext cx="4034242" cy="2862322"/>
          </a:xfrm>
        </p:spPr>
        <p:txBody>
          <a:bodyPr/>
          <a:lstStyle/>
          <a:p>
            <a:r>
              <a:rPr lang="nl-NL" dirty="0"/>
              <a:t>Hoe hebben </a:t>
            </a:r>
            <a:br>
              <a:rPr lang="nl-NL" dirty="0"/>
            </a:br>
            <a:r>
              <a:rPr lang="nl-NL" dirty="0"/>
              <a:t>wij onze activiteiten georganiseerd?</a:t>
            </a:r>
            <a:endParaRPr lang="en-NL" dirty="0"/>
          </a:p>
        </p:txBody>
      </p:sp>
      <p:grpSp>
        <p:nvGrpSpPr>
          <p:cNvPr id="19" name="Groep 18">
            <a:extLst>
              <a:ext uri="{FF2B5EF4-FFF2-40B4-BE49-F238E27FC236}">
                <a16:creationId xmlns:a16="http://schemas.microsoft.com/office/drawing/2014/main" id="{A60398D2-6305-CB7E-6D76-75232F2EF606}"/>
              </a:ext>
            </a:extLst>
          </p:cNvPr>
          <p:cNvGrpSpPr/>
          <p:nvPr/>
        </p:nvGrpSpPr>
        <p:grpSpPr>
          <a:xfrm>
            <a:off x="5399168" y="677611"/>
            <a:ext cx="5443106" cy="5443106"/>
            <a:chOff x="5399168" y="677611"/>
            <a:chExt cx="5443106" cy="5443106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5" name="Graphic 11">
              <a:extLst>
                <a:ext uri="{FF2B5EF4-FFF2-40B4-BE49-F238E27FC236}">
                  <a16:creationId xmlns:a16="http://schemas.microsoft.com/office/drawing/2014/main" id="{CD7C7D14-5CEA-DC53-BFEC-249BD0C932D9}"/>
                </a:ext>
              </a:extLst>
            </p:cNvPr>
            <p:cNvGrpSpPr/>
            <p:nvPr/>
          </p:nvGrpSpPr>
          <p:grpSpPr>
            <a:xfrm>
              <a:off x="5399168" y="677611"/>
              <a:ext cx="5443106" cy="5443106"/>
              <a:chOff x="5399168" y="677611"/>
              <a:chExt cx="5443106" cy="5443106"/>
            </a:xfrm>
            <a:solidFill>
              <a:schemeClr val="accent3"/>
            </a:solidFill>
          </p:grpSpPr>
          <p:sp>
            <p:nvSpPr>
              <p:cNvPr id="6" name="Vrije vorm 5">
                <a:extLst>
                  <a:ext uri="{FF2B5EF4-FFF2-40B4-BE49-F238E27FC236}">
                    <a16:creationId xmlns:a16="http://schemas.microsoft.com/office/drawing/2014/main" id="{482D2649-7D8C-B155-C77E-C2F7F359119B}"/>
                  </a:ext>
                </a:extLst>
              </p:cNvPr>
              <p:cNvSpPr/>
              <p:nvPr/>
            </p:nvSpPr>
            <p:spPr>
              <a:xfrm>
                <a:off x="6231963" y="677611"/>
                <a:ext cx="1870440" cy="1640617"/>
              </a:xfrm>
              <a:custGeom>
                <a:avLst/>
                <a:gdLst>
                  <a:gd name="connsiteX0" fmla="*/ 16039 w 1870440"/>
                  <a:gd name="connsiteY0" fmla="*/ 822980 h 1640617"/>
                  <a:gd name="connsiteX1" fmla="*/ 17136 w 1870440"/>
                  <a:gd name="connsiteY1" fmla="*/ 744229 h 1640617"/>
                  <a:gd name="connsiteX2" fmla="*/ 828767 w 1870440"/>
                  <a:gd name="connsiteY2" fmla="*/ 213160 h 1640617"/>
                  <a:gd name="connsiteX3" fmla="*/ 1814163 w 1870440"/>
                  <a:gd name="connsiteY3" fmla="*/ 20 h 1640617"/>
                  <a:gd name="connsiteX4" fmla="*/ 1870441 w 1870440"/>
                  <a:gd name="connsiteY4" fmla="*/ 54926 h 1640617"/>
                  <a:gd name="connsiteX5" fmla="*/ 1870441 w 1870440"/>
                  <a:gd name="connsiteY5" fmla="*/ 1188507 h 1640617"/>
                  <a:gd name="connsiteX6" fmla="*/ 1818000 w 1870440"/>
                  <a:gd name="connsiteY6" fmla="*/ 1243231 h 1640617"/>
                  <a:gd name="connsiteX7" fmla="*/ 893358 w 1870440"/>
                  <a:gd name="connsiteY7" fmla="*/ 1626207 h 1640617"/>
                  <a:gd name="connsiteX8" fmla="*/ 817621 w 1870440"/>
                  <a:gd name="connsiteY8" fmla="*/ 1624654 h 1640617"/>
                  <a:gd name="connsiteX9" fmla="*/ 16039 w 1870440"/>
                  <a:gd name="connsiteY9" fmla="*/ 823071 h 1640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70440" h="1640617">
                    <a:moveTo>
                      <a:pt x="16039" y="822980"/>
                    </a:moveTo>
                    <a:cubicBezTo>
                      <a:pt x="-5796" y="801145"/>
                      <a:pt x="-5247" y="765515"/>
                      <a:pt x="17136" y="744229"/>
                    </a:cubicBezTo>
                    <a:cubicBezTo>
                      <a:pt x="254668" y="519121"/>
                      <a:pt x="527375" y="340605"/>
                      <a:pt x="828767" y="213160"/>
                    </a:cubicBezTo>
                    <a:cubicBezTo>
                      <a:pt x="1142037" y="80781"/>
                      <a:pt x="1473212" y="9156"/>
                      <a:pt x="1814163" y="20"/>
                    </a:cubicBezTo>
                    <a:cubicBezTo>
                      <a:pt x="1845042" y="-802"/>
                      <a:pt x="1870441" y="24047"/>
                      <a:pt x="1870441" y="54926"/>
                    </a:cubicBezTo>
                    <a:lnTo>
                      <a:pt x="1870441" y="1188507"/>
                    </a:lnTo>
                    <a:cubicBezTo>
                      <a:pt x="1870441" y="1217833"/>
                      <a:pt x="1847326" y="1241860"/>
                      <a:pt x="1818000" y="1243231"/>
                    </a:cubicBezTo>
                    <a:cubicBezTo>
                      <a:pt x="1472755" y="1259401"/>
                      <a:pt x="1148889" y="1393516"/>
                      <a:pt x="893358" y="1626207"/>
                    </a:cubicBezTo>
                    <a:cubicBezTo>
                      <a:pt x="871706" y="1645940"/>
                      <a:pt x="838360" y="1645392"/>
                      <a:pt x="817621" y="1624654"/>
                    </a:cubicBezTo>
                    <a:lnTo>
                      <a:pt x="16039" y="823071"/>
                    </a:ln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7" name="Vrije vorm 6">
                <a:extLst>
                  <a:ext uri="{FF2B5EF4-FFF2-40B4-BE49-F238E27FC236}">
                    <a16:creationId xmlns:a16="http://schemas.microsoft.com/office/drawing/2014/main" id="{6868E076-1D36-2C1D-A6E8-EEF8C51793E7}"/>
                  </a:ext>
                </a:extLst>
              </p:cNvPr>
              <p:cNvSpPr/>
              <p:nvPr/>
            </p:nvSpPr>
            <p:spPr>
              <a:xfrm>
                <a:off x="5399168" y="1510453"/>
                <a:ext cx="1640652" cy="1870484"/>
              </a:xfrm>
              <a:custGeom>
                <a:avLst/>
                <a:gdLst>
                  <a:gd name="connsiteX0" fmla="*/ 54926 w 1640652"/>
                  <a:gd name="connsiteY0" fmla="*/ 1870394 h 1870484"/>
                  <a:gd name="connsiteX1" fmla="*/ 20 w 1640652"/>
                  <a:gd name="connsiteY1" fmla="*/ 1813934 h 1870484"/>
                  <a:gd name="connsiteX2" fmla="*/ 198451 w 1640652"/>
                  <a:gd name="connsiteY2" fmla="*/ 864533 h 1870484"/>
                  <a:gd name="connsiteX3" fmla="*/ 744411 w 1640652"/>
                  <a:gd name="connsiteY3" fmla="*/ 17089 h 1870484"/>
                  <a:gd name="connsiteX4" fmla="*/ 823071 w 1640652"/>
                  <a:gd name="connsiteY4" fmla="*/ 16084 h 1870484"/>
                  <a:gd name="connsiteX5" fmla="*/ 1624654 w 1640652"/>
                  <a:gd name="connsiteY5" fmla="*/ 817666 h 1870484"/>
                  <a:gd name="connsiteX6" fmla="*/ 1626207 w 1640652"/>
                  <a:gd name="connsiteY6" fmla="*/ 893402 h 1870484"/>
                  <a:gd name="connsiteX7" fmla="*/ 1243231 w 1640652"/>
                  <a:gd name="connsiteY7" fmla="*/ 1818045 h 1870484"/>
                  <a:gd name="connsiteX8" fmla="*/ 1188507 w 1640652"/>
                  <a:gd name="connsiteY8" fmla="*/ 1870485 h 1870484"/>
                  <a:gd name="connsiteX9" fmla="*/ 54926 w 1640652"/>
                  <a:gd name="connsiteY9" fmla="*/ 1870485 h 1870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0652" h="1870484">
                    <a:moveTo>
                      <a:pt x="54926" y="1870394"/>
                    </a:moveTo>
                    <a:cubicBezTo>
                      <a:pt x="24047" y="1870394"/>
                      <a:pt x="-802" y="1844813"/>
                      <a:pt x="20" y="1813934"/>
                    </a:cubicBezTo>
                    <a:cubicBezTo>
                      <a:pt x="8790" y="1486778"/>
                      <a:pt x="75482" y="1167753"/>
                      <a:pt x="198451" y="864533"/>
                    </a:cubicBezTo>
                    <a:cubicBezTo>
                      <a:pt x="326262" y="549345"/>
                      <a:pt x="509802" y="264580"/>
                      <a:pt x="744411" y="17089"/>
                    </a:cubicBezTo>
                    <a:cubicBezTo>
                      <a:pt x="765607" y="-5294"/>
                      <a:pt x="801237" y="-5751"/>
                      <a:pt x="823071" y="16084"/>
                    </a:cubicBezTo>
                    <a:lnTo>
                      <a:pt x="1624654" y="817666"/>
                    </a:lnTo>
                    <a:cubicBezTo>
                      <a:pt x="1645392" y="838404"/>
                      <a:pt x="1646032" y="871750"/>
                      <a:pt x="1626207" y="893402"/>
                    </a:cubicBezTo>
                    <a:cubicBezTo>
                      <a:pt x="1393424" y="1148933"/>
                      <a:pt x="1259310" y="1472800"/>
                      <a:pt x="1243231" y="1818045"/>
                    </a:cubicBezTo>
                    <a:cubicBezTo>
                      <a:pt x="1241860" y="1847371"/>
                      <a:pt x="1217924" y="1870485"/>
                      <a:pt x="1188507" y="1870485"/>
                    </a:cubicBezTo>
                    <a:lnTo>
                      <a:pt x="54926" y="1870485"/>
                    </a:ln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8" name="Vrije vorm 7">
                <a:extLst>
                  <a:ext uri="{FF2B5EF4-FFF2-40B4-BE49-F238E27FC236}">
                    <a16:creationId xmlns:a16="http://schemas.microsoft.com/office/drawing/2014/main" id="{83219B15-37D5-443C-14FF-69383E1CA0B4}"/>
                  </a:ext>
                </a:extLst>
              </p:cNvPr>
              <p:cNvSpPr/>
              <p:nvPr/>
            </p:nvSpPr>
            <p:spPr>
              <a:xfrm>
                <a:off x="5399168" y="3417481"/>
                <a:ext cx="1640525" cy="1870349"/>
              </a:xfrm>
              <a:custGeom>
                <a:avLst/>
                <a:gdLst>
                  <a:gd name="connsiteX0" fmla="*/ 822980 w 1640525"/>
                  <a:gd name="connsiteY0" fmla="*/ 1854310 h 1870349"/>
                  <a:gd name="connsiteX1" fmla="*/ 744229 w 1640525"/>
                  <a:gd name="connsiteY1" fmla="*/ 1853214 h 1870349"/>
                  <a:gd name="connsiteX2" fmla="*/ 213160 w 1640525"/>
                  <a:gd name="connsiteY2" fmla="*/ 1041582 h 1870349"/>
                  <a:gd name="connsiteX3" fmla="*/ 20 w 1640525"/>
                  <a:gd name="connsiteY3" fmla="*/ 56277 h 1870349"/>
                  <a:gd name="connsiteX4" fmla="*/ 54835 w 1640525"/>
                  <a:gd name="connsiteY4" fmla="*/ 0 h 1870349"/>
                  <a:gd name="connsiteX5" fmla="*/ 1188415 w 1640525"/>
                  <a:gd name="connsiteY5" fmla="*/ 0 h 1870349"/>
                  <a:gd name="connsiteX6" fmla="*/ 1243139 w 1640525"/>
                  <a:gd name="connsiteY6" fmla="*/ 52440 h 1870349"/>
                  <a:gd name="connsiteX7" fmla="*/ 1626115 w 1640525"/>
                  <a:gd name="connsiteY7" fmla="*/ 977083 h 1870349"/>
                  <a:gd name="connsiteX8" fmla="*/ 1624562 w 1640525"/>
                  <a:gd name="connsiteY8" fmla="*/ 1052819 h 1870349"/>
                  <a:gd name="connsiteX9" fmla="*/ 822980 w 1640525"/>
                  <a:gd name="connsiteY9" fmla="*/ 1854401 h 1870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0525" h="1870349">
                    <a:moveTo>
                      <a:pt x="822980" y="1854310"/>
                    </a:moveTo>
                    <a:cubicBezTo>
                      <a:pt x="801145" y="1876145"/>
                      <a:pt x="765515" y="1875597"/>
                      <a:pt x="744229" y="1853214"/>
                    </a:cubicBezTo>
                    <a:cubicBezTo>
                      <a:pt x="519121" y="1615681"/>
                      <a:pt x="340605" y="1342883"/>
                      <a:pt x="213160" y="1041582"/>
                    </a:cubicBezTo>
                    <a:cubicBezTo>
                      <a:pt x="80781" y="728312"/>
                      <a:pt x="9156" y="397228"/>
                      <a:pt x="20" y="56277"/>
                    </a:cubicBezTo>
                    <a:cubicBezTo>
                      <a:pt x="-802" y="25398"/>
                      <a:pt x="24047" y="0"/>
                      <a:pt x="54835" y="0"/>
                    </a:cubicBezTo>
                    <a:lnTo>
                      <a:pt x="1188415" y="0"/>
                    </a:lnTo>
                    <a:cubicBezTo>
                      <a:pt x="1217741" y="0"/>
                      <a:pt x="1241769" y="23114"/>
                      <a:pt x="1243139" y="52440"/>
                    </a:cubicBezTo>
                    <a:cubicBezTo>
                      <a:pt x="1259310" y="397685"/>
                      <a:pt x="1393424" y="721552"/>
                      <a:pt x="1626115" y="977083"/>
                    </a:cubicBezTo>
                    <a:cubicBezTo>
                      <a:pt x="1645849" y="998735"/>
                      <a:pt x="1645301" y="1032081"/>
                      <a:pt x="1624562" y="1052819"/>
                    </a:cubicBezTo>
                    <a:lnTo>
                      <a:pt x="822980" y="1854401"/>
                    </a:ln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9" name="Vrije vorm 8">
                <a:extLst>
                  <a:ext uri="{FF2B5EF4-FFF2-40B4-BE49-F238E27FC236}">
                    <a16:creationId xmlns:a16="http://schemas.microsoft.com/office/drawing/2014/main" id="{0BAE496B-3B11-AB9B-D30A-1B0D7C50FEF7}"/>
                  </a:ext>
                </a:extLst>
              </p:cNvPr>
              <p:cNvSpPr/>
              <p:nvPr/>
            </p:nvSpPr>
            <p:spPr>
              <a:xfrm>
                <a:off x="6232010" y="4480064"/>
                <a:ext cx="1870484" cy="1640652"/>
              </a:xfrm>
              <a:custGeom>
                <a:avLst/>
                <a:gdLst>
                  <a:gd name="connsiteX0" fmla="*/ 1870394 w 1870484"/>
                  <a:gd name="connsiteY0" fmla="*/ 1585726 h 1640652"/>
                  <a:gd name="connsiteX1" fmla="*/ 1813934 w 1870484"/>
                  <a:gd name="connsiteY1" fmla="*/ 1640632 h 1640652"/>
                  <a:gd name="connsiteX2" fmla="*/ 864533 w 1870484"/>
                  <a:gd name="connsiteY2" fmla="*/ 1442201 h 1640652"/>
                  <a:gd name="connsiteX3" fmla="*/ 17089 w 1870484"/>
                  <a:gd name="connsiteY3" fmla="*/ 896241 h 1640652"/>
                  <a:gd name="connsiteX4" fmla="*/ 16084 w 1870484"/>
                  <a:gd name="connsiteY4" fmla="*/ 817581 h 1640652"/>
                  <a:gd name="connsiteX5" fmla="*/ 817666 w 1870484"/>
                  <a:gd name="connsiteY5" fmla="*/ 15999 h 1640652"/>
                  <a:gd name="connsiteX6" fmla="*/ 893402 w 1870484"/>
                  <a:gd name="connsiteY6" fmla="*/ 14446 h 1640652"/>
                  <a:gd name="connsiteX7" fmla="*/ 1818045 w 1870484"/>
                  <a:gd name="connsiteY7" fmla="*/ 397422 h 1640652"/>
                  <a:gd name="connsiteX8" fmla="*/ 1870485 w 1870484"/>
                  <a:gd name="connsiteY8" fmla="*/ 452146 h 1640652"/>
                  <a:gd name="connsiteX9" fmla="*/ 1870485 w 1870484"/>
                  <a:gd name="connsiteY9" fmla="*/ 1585726 h 1640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70484" h="1640652">
                    <a:moveTo>
                      <a:pt x="1870394" y="1585726"/>
                    </a:moveTo>
                    <a:cubicBezTo>
                      <a:pt x="1870394" y="1616605"/>
                      <a:pt x="1844813" y="1641455"/>
                      <a:pt x="1813934" y="1640632"/>
                    </a:cubicBezTo>
                    <a:cubicBezTo>
                      <a:pt x="1486778" y="1631862"/>
                      <a:pt x="1167753" y="1565171"/>
                      <a:pt x="864533" y="1442201"/>
                    </a:cubicBezTo>
                    <a:cubicBezTo>
                      <a:pt x="549345" y="1314391"/>
                      <a:pt x="264580" y="1130850"/>
                      <a:pt x="17089" y="896241"/>
                    </a:cubicBezTo>
                    <a:cubicBezTo>
                      <a:pt x="-5294" y="875046"/>
                      <a:pt x="-5751" y="839416"/>
                      <a:pt x="16084" y="817581"/>
                    </a:cubicBezTo>
                    <a:lnTo>
                      <a:pt x="817666" y="15999"/>
                    </a:lnTo>
                    <a:cubicBezTo>
                      <a:pt x="838404" y="-4740"/>
                      <a:pt x="871750" y="-5379"/>
                      <a:pt x="893402" y="14446"/>
                    </a:cubicBezTo>
                    <a:cubicBezTo>
                      <a:pt x="1148933" y="247137"/>
                      <a:pt x="1472800" y="381343"/>
                      <a:pt x="1818045" y="397422"/>
                    </a:cubicBezTo>
                    <a:cubicBezTo>
                      <a:pt x="1847371" y="398792"/>
                      <a:pt x="1870485" y="422728"/>
                      <a:pt x="1870485" y="452146"/>
                    </a:cubicBezTo>
                    <a:lnTo>
                      <a:pt x="1870485" y="1585726"/>
                    </a:ln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" name="Vrije vorm 9">
                <a:extLst>
                  <a:ext uri="{FF2B5EF4-FFF2-40B4-BE49-F238E27FC236}">
                    <a16:creationId xmlns:a16="http://schemas.microsoft.com/office/drawing/2014/main" id="{C497F417-217D-DD41-4106-E26503742BCD}"/>
                  </a:ext>
                </a:extLst>
              </p:cNvPr>
              <p:cNvSpPr/>
              <p:nvPr/>
            </p:nvSpPr>
            <p:spPr>
              <a:xfrm>
                <a:off x="8139038" y="4480100"/>
                <a:ext cx="1870349" cy="1640617"/>
              </a:xfrm>
              <a:custGeom>
                <a:avLst/>
                <a:gdLst>
                  <a:gd name="connsiteX0" fmla="*/ 52349 w 1870349"/>
                  <a:gd name="connsiteY0" fmla="*/ 397387 h 1640617"/>
                  <a:gd name="connsiteX1" fmla="*/ 976991 w 1870349"/>
                  <a:gd name="connsiteY1" fmla="*/ 14411 h 1640617"/>
                  <a:gd name="connsiteX2" fmla="*/ 1052728 w 1870349"/>
                  <a:gd name="connsiteY2" fmla="*/ 15964 h 1640617"/>
                  <a:gd name="connsiteX3" fmla="*/ 1854310 w 1870349"/>
                  <a:gd name="connsiteY3" fmla="*/ 817546 h 1640617"/>
                  <a:gd name="connsiteX4" fmla="*/ 1853214 w 1870349"/>
                  <a:gd name="connsiteY4" fmla="*/ 896297 h 1640617"/>
                  <a:gd name="connsiteX5" fmla="*/ 1041582 w 1870349"/>
                  <a:gd name="connsiteY5" fmla="*/ 1427366 h 1640617"/>
                  <a:gd name="connsiteX6" fmla="*/ 56277 w 1870349"/>
                  <a:gd name="connsiteY6" fmla="*/ 1640597 h 1640617"/>
                  <a:gd name="connsiteX7" fmla="*/ 0 w 1870349"/>
                  <a:gd name="connsiteY7" fmla="*/ 1585691 h 1640617"/>
                  <a:gd name="connsiteX8" fmla="*/ 0 w 1870349"/>
                  <a:gd name="connsiteY8" fmla="*/ 452111 h 1640617"/>
                  <a:gd name="connsiteX9" fmla="*/ 52440 w 1870349"/>
                  <a:gd name="connsiteY9" fmla="*/ 397387 h 1640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70349" h="1640617">
                    <a:moveTo>
                      <a:pt x="52349" y="397387"/>
                    </a:moveTo>
                    <a:cubicBezTo>
                      <a:pt x="397594" y="381216"/>
                      <a:pt x="721461" y="247102"/>
                      <a:pt x="976991" y="14411"/>
                    </a:cubicBezTo>
                    <a:cubicBezTo>
                      <a:pt x="998643" y="-5323"/>
                      <a:pt x="1031989" y="-4775"/>
                      <a:pt x="1052728" y="15964"/>
                    </a:cubicBezTo>
                    <a:lnTo>
                      <a:pt x="1854310" y="817546"/>
                    </a:lnTo>
                    <a:cubicBezTo>
                      <a:pt x="1876145" y="839381"/>
                      <a:pt x="1875597" y="875011"/>
                      <a:pt x="1853214" y="896297"/>
                    </a:cubicBezTo>
                    <a:cubicBezTo>
                      <a:pt x="1615681" y="1121406"/>
                      <a:pt x="1342975" y="1299920"/>
                      <a:pt x="1041582" y="1427366"/>
                    </a:cubicBezTo>
                    <a:cubicBezTo>
                      <a:pt x="728312" y="1559836"/>
                      <a:pt x="397228" y="1631461"/>
                      <a:pt x="56277" y="1640597"/>
                    </a:cubicBezTo>
                    <a:cubicBezTo>
                      <a:pt x="25398" y="1641420"/>
                      <a:pt x="0" y="1616570"/>
                      <a:pt x="0" y="1585691"/>
                    </a:cubicBezTo>
                    <a:lnTo>
                      <a:pt x="0" y="452111"/>
                    </a:lnTo>
                    <a:cubicBezTo>
                      <a:pt x="0" y="422784"/>
                      <a:pt x="23114" y="398757"/>
                      <a:pt x="52440" y="397387"/>
                    </a:cubicBez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" name="Vrije vorm 10">
                <a:extLst>
                  <a:ext uri="{FF2B5EF4-FFF2-40B4-BE49-F238E27FC236}">
                    <a16:creationId xmlns:a16="http://schemas.microsoft.com/office/drawing/2014/main" id="{5A69DA43-5E71-779C-AB0C-ADC296E92B05}"/>
                  </a:ext>
                </a:extLst>
              </p:cNvPr>
              <p:cNvSpPr/>
              <p:nvPr/>
            </p:nvSpPr>
            <p:spPr>
              <a:xfrm>
                <a:off x="9201713" y="3417390"/>
                <a:ext cx="1640560" cy="1870393"/>
              </a:xfrm>
              <a:custGeom>
                <a:avLst/>
                <a:gdLst>
                  <a:gd name="connsiteX0" fmla="*/ 14354 w 1640560"/>
                  <a:gd name="connsiteY0" fmla="*/ 977082 h 1870393"/>
                  <a:gd name="connsiteX1" fmla="*/ 397330 w 1640560"/>
                  <a:gd name="connsiteY1" fmla="*/ 52440 h 1870393"/>
                  <a:gd name="connsiteX2" fmla="*/ 452055 w 1640560"/>
                  <a:gd name="connsiteY2" fmla="*/ 0 h 1870393"/>
                  <a:gd name="connsiteX3" fmla="*/ 1585635 w 1640560"/>
                  <a:gd name="connsiteY3" fmla="*/ 0 h 1870393"/>
                  <a:gd name="connsiteX4" fmla="*/ 1640541 w 1640560"/>
                  <a:gd name="connsiteY4" fmla="*/ 56460 h 1870393"/>
                  <a:gd name="connsiteX5" fmla="*/ 1442201 w 1640560"/>
                  <a:gd name="connsiteY5" fmla="*/ 1005860 h 1870393"/>
                  <a:gd name="connsiteX6" fmla="*/ 896241 w 1640560"/>
                  <a:gd name="connsiteY6" fmla="*/ 1853305 h 1870393"/>
                  <a:gd name="connsiteX7" fmla="*/ 817581 w 1640560"/>
                  <a:gd name="connsiteY7" fmla="*/ 1854310 h 1870393"/>
                  <a:gd name="connsiteX8" fmla="*/ 15999 w 1640560"/>
                  <a:gd name="connsiteY8" fmla="*/ 1052727 h 1870393"/>
                  <a:gd name="connsiteX9" fmla="*/ 14446 w 1640560"/>
                  <a:gd name="connsiteY9" fmla="*/ 976991 h 1870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0560" h="1870393">
                    <a:moveTo>
                      <a:pt x="14354" y="977082"/>
                    </a:moveTo>
                    <a:cubicBezTo>
                      <a:pt x="247045" y="721552"/>
                      <a:pt x="381252" y="397685"/>
                      <a:pt x="397330" y="52440"/>
                    </a:cubicBezTo>
                    <a:cubicBezTo>
                      <a:pt x="398701" y="23114"/>
                      <a:pt x="422637" y="0"/>
                      <a:pt x="452055" y="0"/>
                    </a:cubicBezTo>
                    <a:lnTo>
                      <a:pt x="1585635" y="0"/>
                    </a:lnTo>
                    <a:cubicBezTo>
                      <a:pt x="1616514" y="0"/>
                      <a:pt x="1641364" y="25580"/>
                      <a:pt x="1640541" y="56460"/>
                    </a:cubicBezTo>
                    <a:cubicBezTo>
                      <a:pt x="1631771" y="383616"/>
                      <a:pt x="1565079" y="702640"/>
                      <a:pt x="1442201" y="1005860"/>
                    </a:cubicBezTo>
                    <a:cubicBezTo>
                      <a:pt x="1314391" y="1321048"/>
                      <a:pt x="1130850" y="1605814"/>
                      <a:pt x="896241" y="1853305"/>
                    </a:cubicBezTo>
                    <a:cubicBezTo>
                      <a:pt x="875046" y="1875688"/>
                      <a:pt x="839416" y="1876144"/>
                      <a:pt x="817581" y="1854310"/>
                    </a:cubicBezTo>
                    <a:lnTo>
                      <a:pt x="15999" y="1052727"/>
                    </a:lnTo>
                    <a:cubicBezTo>
                      <a:pt x="-4739" y="1031989"/>
                      <a:pt x="-5379" y="998643"/>
                      <a:pt x="14446" y="976991"/>
                    </a:cubicBez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3" name="Vrije vorm 12">
                <a:extLst>
                  <a:ext uri="{FF2B5EF4-FFF2-40B4-BE49-F238E27FC236}">
                    <a16:creationId xmlns:a16="http://schemas.microsoft.com/office/drawing/2014/main" id="{F59E76DB-DC07-46B6-3FB0-045C2E088E55}"/>
                  </a:ext>
                </a:extLst>
              </p:cNvPr>
              <p:cNvSpPr/>
              <p:nvPr/>
            </p:nvSpPr>
            <p:spPr>
              <a:xfrm>
                <a:off x="9201657" y="1510406"/>
                <a:ext cx="1640617" cy="1870348"/>
              </a:xfrm>
              <a:custGeom>
                <a:avLst/>
                <a:gdLst>
                  <a:gd name="connsiteX0" fmla="*/ 397387 w 1640617"/>
                  <a:gd name="connsiteY0" fmla="*/ 1818000 h 1870348"/>
                  <a:gd name="connsiteX1" fmla="*/ 14411 w 1640617"/>
                  <a:gd name="connsiteY1" fmla="*/ 893358 h 1870348"/>
                  <a:gd name="connsiteX2" fmla="*/ 15964 w 1640617"/>
                  <a:gd name="connsiteY2" fmla="*/ 817621 h 1870348"/>
                  <a:gd name="connsiteX3" fmla="*/ 817546 w 1640617"/>
                  <a:gd name="connsiteY3" fmla="*/ 16039 h 1870348"/>
                  <a:gd name="connsiteX4" fmla="*/ 896297 w 1640617"/>
                  <a:gd name="connsiteY4" fmla="*/ 17136 h 1870348"/>
                  <a:gd name="connsiteX5" fmla="*/ 1427366 w 1640617"/>
                  <a:gd name="connsiteY5" fmla="*/ 828767 h 1870348"/>
                  <a:gd name="connsiteX6" fmla="*/ 1640597 w 1640617"/>
                  <a:gd name="connsiteY6" fmla="*/ 1814072 h 1870348"/>
                  <a:gd name="connsiteX7" fmla="*/ 1585782 w 1640617"/>
                  <a:gd name="connsiteY7" fmla="*/ 1870349 h 1870348"/>
                  <a:gd name="connsiteX8" fmla="*/ 452202 w 1640617"/>
                  <a:gd name="connsiteY8" fmla="*/ 1870349 h 1870348"/>
                  <a:gd name="connsiteX9" fmla="*/ 397478 w 1640617"/>
                  <a:gd name="connsiteY9" fmla="*/ 1817909 h 1870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0617" h="1870348">
                    <a:moveTo>
                      <a:pt x="397387" y="1818000"/>
                    </a:moveTo>
                    <a:cubicBezTo>
                      <a:pt x="381216" y="1472755"/>
                      <a:pt x="247102" y="1148889"/>
                      <a:pt x="14411" y="893358"/>
                    </a:cubicBezTo>
                    <a:cubicBezTo>
                      <a:pt x="-5323" y="871706"/>
                      <a:pt x="-4775" y="838360"/>
                      <a:pt x="15964" y="817621"/>
                    </a:cubicBezTo>
                    <a:lnTo>
                      <a:pt x="817546" y="16039"/>
                    </a:lnTo>
                    <a:cubicBezTo>
                      <a:pt x="839381" y="-5796"/>
                      <a:pt x="875011" y="-5247"/>
                      <a:pt x="896297" y="17136"/>
                    </a:cubicBezTo>
                    <a:cubicBezTo>
                      <a:pt x="1121406" y="254668"/>
                      <a:pt x="1299920" y="527466"/>
                      <a:pt x="1427366" y="828767"/>
                    </a:cubicBezTo>
                    <a:cubicBezTo>
                      <a:pt x="1559836" y="1142037"/>
                      <a:pt x="1631461" y="1473121"/>
                      <a:pt x="1640597" y="1814072"/>
                    </a:cubicBezTo>
                    <a:cubicBezTo>
                      <a:pt x="1641420" y="1844951"/>
                      <a:pt x="1616570" y="1870349"/>
                      <a:pt x="1585782" y="1870349"/>
                    </a:cubicBezTo>
                    <a:lnTo>
                      <a:pt x="452202" y="1870349"/>
                    </a:lnTo>
                    <a:cubicBezTo>
                      <a:pt x="422876" y="1870349"/>
                      <a:pt x="398848" y="1847235"/>
                      <a:pt x="397478" y="1817909"/>
                    </a:cubicBez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5" name="Vrije vorm 14">
                <a:extLst>
                  <a:ext uri="{FF2B5EF4-FFF2-40B4-BE49-F238E27FC236}">
                    <a16:creationId xmlns:a16="http://schemas.microsoft.com/office/drawing/2014/main" id="{B351A606-7088-2854-7B52-7A79CB12C663}"/>
                  </a:ext>
                </a:extLst>
              </p:cNvPr>
              <p:cNvSpPr/>
              <p:nvPr/>
            </p:nvSpPr>
            <p:spPr>
              <a:xfrm>
                <a:off x="8138947" y="677611"/>
                <a:ext cx="1870393" cy="1640652"/>
              </a:xfrm>
              <a:custGeom>
                <a:avLst/>
                <a:gdLst>
                  <a:gd name="connsiteX0" fmla="*/ 977082 w 1870393"/>
                  <a:gd name="connsiteY0" fmla="*/ 1626207 h 1640652"/>
                  <a:gd name="connsiteX1" fmla="*/ 52440 w 1870393"/>
                  <a:gd name="connsiteY1" fmla="*/ 1243231 h 1640652"/>
                  <a:gd name="connsiteX2" fmla="*/ 0 w 1870393"/>
                  <a:gd name="connsiteY2" fmla="*/ 1188507 h 1640652"/>
                  <a:gd name="connsiteX3" fmla="*/ 0 w 1870393"/>
                  <a:gd name="connsiteY3" fmla="*/ 54926 h 1640652"/>
                  <a:gd name="connsiteX4" fmla="*/ 56460 w 1870393"/>
                  <a:gd name="connsiteY4" fmla="*/ 20 h 1640652"/>
                  <a:gd name="connsiteX5" fmla="*/ 1005860 w 1870393"/>
                  <a:gd name="connsiteY5" fmla="*/ 198451 h 1640652"/>
                  <a:gd name="connsiteX6" fmla="*/ 1853305 w 1870393"/>
                  <a:gd name="connsiteY6" fmla="*/ 744411 h 1640652"/>
                  <a:gd name="connsiteX7" fmla="*/ 1854310 w 1870393"/>
                  <a:gd name="connsiteY7" fmla="*/ 823071 h 1640652"/>
                  <a:gd name="connsiteX8" fmla="*/ 1052727 w 1870393"/>
                  <a:gd name="connsiteY8" fmla="*/ 1624654 h 1640652"/>
                  <a:gd name="connsiteX9" fmla="*/ 976991 w 1870393"/>
                  <a:gd name="connsiteY9" fmla="*/ 1626207 h 1640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70393" h="1640652">
                    <a:moveTo>
                      <a:pt x="977082" y="1626207"/>
                    </a:moveTo>
                    <a:cubicBezTo>
                      <a:pt x="721552" y="1393424"/>
                      <a:pt x="397685" y="1259310"/>
                      <a:pt x="52440" y="1243231"/>
                    </a:cubicBezTo>
                    <a:cubicBezTo>
                      <a:pt x="23114" y="1241860"/>
                      <a:pt x="0" y="1217924"/>
                      <a:pt x="0" y="1188507"/>
                    </a:cubicBezTo>
                    <a:lnTo>
                      <a:pt x="0" y="54926"/>
                    </a:lnTo>
                    <a:cubicBezTo>
                      <a:pt x="0" y="24047"/>
                      <a:pt x="25580" y="-802"/>
                      <a:pt x="56460" y="20"/>
                    </a:cubicBezTo>
                    <a:cubicBezTo>
                      <a:pt x="383616" y="8790"/>
                      <a:pt x="702640" y="75482"/>
                      <a:pt x="1005860" y="198451"/>
                    </a:cubicBezTo>
                    <a:cubicBezTo>
                      <a:pt x="1321048" y="326262"/>
                      <a:pt x="1605814" y="509802"/>
                      <a:pt x="1853305" y="744411"/>
                    </a:cubicBezTo>
                    <a:cubicBezTo>
                      <a:pt x="1875688" y="765607"/>
                      <a:pt x="1876144" y="801237"/>
                      <a:pt x="1854310" y="823071"/>
                    </a:cubicBezTo>
                    <a:lnTo>
                      <a:pt x="1052727" y="1624654"/>
                    </a:lnTo>
                    <a:cubicBezTo>
                      <a:pt x="1031989" y="1645392"/>
                      <a:pt x="998643" y="1646032"/>
                      <a:pt x="976991" y="1626207"/>
                    </a:cubicBez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4" name="Ovaal 13">
              <a:extLst>
                <a:ext uri="{FF2B5EF4-FFF2-40B4-BE49-F238E27FC236}">
                  <a16:creationId xmlns:a16="http://schemas.microsoft.com/office/drawing/2014/main" id="{7D7C7F1D-0B1B-9524-3FB1-E9B916DDFF66}"/>
                </a:ext>
              </a:extLst>
            </p:cNvPr>
            <p:cNvSpPr/>
            <p:nvPr/>
          </p:nvSpPr>
          <p:spPr>
            <a:xfrm>
              <a:off x="6178378" y="1466423"/>
              <a:ext cx="3896498" cy="3867399"/>
            </a:xfrm>
            <a:prstGeom prst="ellipse">
              <a:avLst/>
            </a:prstGeom>
            <a:noFill/>
            <a:ln w="1143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8" name="Groep 17">
              <a:extLst>
                <a:ext uri="{FF2B5EF4-FFF2-40B4-BE49-F238E27FC236}">
                  <a16:creationId xmlns:a16="http://schemas.microsoft.com/office/drawing/2014/main" id="{9C83DF9B-DEBC-042D-E914-7022C3676B9E}"/>
                </a:ext>
              </a:extLst>
            </p:cNvPr>
            <p:cNvGrpSpPr/>
            <p:nvPr/>
          </p:nvGrpSpPr>
          <p:grpSpPr>
            <a:xfrm>
              <a:off x="5692489" y="1052820"/>
              <a:ext cx="4803228" cy="4794316"/>
              <a:chOff x="5692489" y="1052820"/>
              <a:chExt cx="4803228" cy="4794316"/>
            </a:xfrm>
          </p:grpSpPr>
          <p:sp>
            <p:nvSpPr>
              <p:cNvPr id="72" name="Tekstvak 71">
                <a:extLst>
                  <a:ext uri="{FF2B5EF4-FFF2-40B4-BE49-F238E27FC236}">
                    <a16:creationId xmlns:a16="http://schemas.microsoft.com/office/drawing/2014/main" id="{1C951DBC-FB58-0125-6E14-733A0B1B32E7}"/>
                  </a:ext>
                </a:extLst>
              </p:cNvPr>
              <p:cNvSpPr txBox="1"/>
              <p:nvPr/>
            </p:nvSpPr>
            <p:spPr>
              <a:xfrm rot="4110173">
                <a:off x="9597730" y="2316986"/>
                <a:ext cx="136608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Operator diensten </a:t>
                </a:r>
                <a:b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</a:b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Grootzakelijk &amp; MKB</a:t>
                </a:r>
              </a:p>
            </p:txBody>
          </p:sp>
          <p:sp>
            <p:nvSpPr>
              <p:cNvPr id="74" name="Tekstvak 73">
                <a:extLst>
                  <a:ext uri="{FF2B5EF4-FFF2-40B4-BE49-F238E27FC236}">
                    <a16:creationId xmlns:a16="http://schemas.microsoft.com/office/drawing/2014/main" id="{DFDC3578-F182-D771-9034-65B35662FD69}"/>
                  </a:ext>
                </a:extLst>
              </p:cNvPr>
              <p:cNvSpPr txBox="1"/>
              <p:nvPr/>
            </p:nvSpPr>
            <p:spPr>
              <a:xfrm rot="17616301">
                <a:off x="9864294" y="4073763"/>
                <a:ext cx="862736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Networking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&amp; Security</a:t>
                </a:r>
              </a:p>
            </p:txBody>
          </p:sp>
          <p:sp>
            <p:nvSpPr>
              <p:cNvPr id="88" name="Tekstvak 87">
                <a:extLst>
                  <a:ext uri="{FF2B5EF4-FFF2-40B4-BE49-F238E27FC236}">
                    <a16:creationId xmlns:a16="http://schemas.microsoft.com/office/drawing/2014/main" id="{6871C543-4DF4-E3E2-0DC0-7D55064BD079}"/>
                  </a:ext>
                </a:extLst>
              </p:cNvPr>
              <p:cNvSpPr txBox="1"/>
              <p:nvPr/>
            </p:nvSpPr>
            <p:spPr>
              <a:xfrm rot="17489827" flipH="1">
                <a:off x="5154200" y="2199396"/>
                <a:ext cx="1630575" cy="553998"/>
              </a:xfrm>
              <a:prstGeom prst="rect">
                <a:avLst/>
              </a:prstGeom>
              <a:solidFill>
                <a:srgbClr val="171A61"/>
              </a:solidFill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Communicatie-</a:t>
                </a:r>
                <a:b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</a:b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oplossingen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Voice, Video, Messaging</a:t>
                </a:r>
              </a:p>
            </p:txBody>
          </p:sp>
          <p:sp>
            <p:nvSpPr>
              <p:cNvPr id="89" name="Tekstvak 88">
                <a:extLst>
                  <a:ext uri="{FF2B5EF4-FFF2-40B4-BE49-F238E27FC236}">
                    <a16:creationId xmlns:a16="http://schemas.microsoft.com/office/drawing/2014/main" id="{11C20725-3260-C4CB-24FD-167A7EDC43A2}"/>
                  </a:ext>
                </a:extLst>
              </p:cNvPr>
              <p:cNvSpPr txBox="1"/>
              <p:nvPr/>
            </p:nvSpPr>
            <p:spPr>
              <a:xfrm rot="3983699" flipH="1">
                <a:off x="5284189" y="3991011"/>
                <a:ext cx="1459054" cy="553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Yourizon: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ICT, </a:t>
                </a: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VOSv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 MOS/MAS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voor Care &amp; Cure</a:t>
                </a:r>
              </a:p>
            </p:txBody>
          </p:sp>
          <p:sp>
            <p:nvSpPr>
              <p:cNvPr id="90" name="Tekstvak 89">
                <a:extLst>
                  <a:ext uri="{FF2B5EF4-FFF2-40B4-BE49-F238E27FC236}">
                    <a16:creationId xmlns:a16="http://schemas.microsoft.com/office/drawing/2014/main" id="{5D2CBCAD-81CE-D134-C58C-5897FC900E28}"/>
                  </a:ext>
                </a:extLst>
              </p:cNvPr>
              <p:cNvSpPr txBox="1"/>
              <p:nvPr/>
            </p:nvSpPr>
            <p:spPr>
              <a:xfrm rot="1455412">
                <a:off x="8660121" y="1116574"/>
                <a:ext cx="723276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ICT MKB</a:t>
                </a:r>
              </a:p>
            </p:txBody>
          </p:sp>
          <p:sp>
            <p:nvSpPr>
              <p:cNvPr id="91" name="Tekstvak 90">
                <a:extLst>
                  <a:ext uri="{FF2B5EF4-FFF2-40B4-BE49-F238E27FC236}">
                    <a16:creationId xmlns:a16="http://schemas.microsoft.com/office/drawing/2014/main" id="{6A04A23A-8F75-18CF-8F26-AB771C6CC729}"/>
                  </a:ext>
                </a:extLst>
              </p:cNvPr>
              <p:cNvSpPr txBox="1"/>
              <p:nvPr/>
            </p:nvSpPr>
            <p:spPr>
              <a:xfrm rot="20144588" flipH="1">
                <a:off x="6612262" y="1052820"/>
                <a:ext cx="123211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ICT Midden- &amp;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Grootzakelijk</a:t>
                </a:r>
              </a:p>
            </p:txBody>
          </p:sp>
          <p:sp>
            <p:nvSpPr>
              <p:cNvPr id="92" name="Tekstvak 91">
                <a:extLst>
                  <a:ext uri="{FF2B5EF4-FFF2-40B4-BE49-F238E27FC236}">
                    <a16:creationId xmlns:a16="http://schemas.microsoft.com/office/drawing/2014/main" id="{9FA72401-91A5-D9CB-DA39-24399C6718ED}"/>
                  </a:ext>
                </a:extLst>
              </p:cNvPr>
              <p:cNvSpPr txBox="1"/>
              <p:nvPr/>
            </p:nvSpPr>
            <p:spPr>
              <a:xfrm rot="20144588" flipH="1">
                <a:off x="8321024" y="5224780"/>
                <a:ext cx="1489510" cy="553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Detachering op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Infrastructuur &amp;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Software Development</a:t>
                </a:r>
              </a:p>
            </p:txBody>
          </p:sp>
          <p:sp>
            <p:nvSpPr>
              <p:cNvPr id="93" name="Tekstvak 92">
                <a:extLst>
                  <a:ext uri="{FF2B5EF4-FFF2-40B4-BE49-F238E27FC236}">
                    <a16:creationId xmlns:a16="http://schemas.microsoft.com/office/drawing/2014/main" id="{5B930817-CE0B-2490-C314-3B15A6346F36}"/>
                  </a:ext>
                </a:extLst>
              </p:cNvPr>
              <p:cNvSpPr txBox="1"/>
              <p:nvPr/>
            </p:nvSpPr>
            <p:spPr>
              <a:xfrm rot="1455412">
                <a:off x="6473990" y="5293138"/>
                <a:ext cx="1530680" cy="553998"/>
              </a:xfrm>
              <a:prstGeom prst="rect">
                <a:avLst/>
              </a:prstGeom>
              <a:solidFill>
                <a:srgbClr val="171A6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BproCare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:</a:t>
                </a:r>
                <a:b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</a:b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Product Development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&amp; Innovatie</a:t>
                </a:r>
              </a:p>
            </p:txBody>
          </p:sp>
        </p:grpSp>
      </p:grpSp>
      <p:pic>
        <p:nvPicPr>
          <p:cNvPr id="25" name="Afbeelding 24" descr="Afbeelding met overdekt, muur, persoon, meubels&#10;&#10;Automatisch gegenereerde beschrijving">
            <a:extLst>
              <a:ext uri="{FF2B5EF4-FFF2-40B4-BE49-F238E27FC236}">
                <a16:creationId xmlns:a16="http://schemas.microsoft.com/office/drawing/2014/main" id="{10EDB442-6C35-2CD5-F1C7-EA5ECA3FA5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44521" y="2511737"/>
            <a:ext cx="1921258" cy="1766157"/>
          </a:xfrm>
          <a:prstGeom prst="rect">
            <a:avLst/>
          </a:prstGeom>
        </p:spPr>
      </p:pic>
      <p:pic>
        <p:nvPicPr>
          <p:cNvPr id="24" name="Afbeelding 23">
            <a:extLst>
              <a:ext uri="{FF2B5EF4-FFF2-40B4-BE49-F238E27FC236}">
                <a16:creationId xmlns:a16="http://schemas.microsoft.com/office/drawing/2014/main" id="{7270B9C3-53CD-7210-DFDB-1C7D4D88F7F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12" t="-889" r="-679"/>
          <a:stretch/>
        </p:blipFill>
        <p:spPr>
          <a:xfrm>
            <a:off x="6102485" y="1453453"/>
            <a:ext cx="3991600" cy="396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100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9E4EAB2B-53AC-DA32-8270-3A9116CFE149}"/>
              </a:ext>
            </a:extLst>
          </p:cNvPr>
          <p:cNvSpPr/>
          <p:nvPr/>
        </p:nvSpPr>
        <p:spPr>
          <a:xfrm>
            <a:off x="0" y="0"/>
            <a:ext cx="12192000" cy="6345215"/>
          </a:xfrm>
          <a:prstGeom prst="rect">
            <a:avLst/>
          </a:prstGeom>
          <a:solidFill>
            <a:srgbClr val="171A6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D176DEA2-6349-B07C-3BEC-8A547BFABAA7}"/>
              </a:ext>
            </a:extLst>
          </p:cNvPr>
          <p:cNvSpPr/>
          <p:nvPr/>
        </p:nvSpPr>
        <p:spPr>
          <a:xfrm>
            <a:off x="339612" y="391465"/>
            <a:ext cx="11519308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4417" y="1091800"/>
            <a:ext cx="4034242" cy="2862322"/>
          </a:xfrm>
        </p:spPr>
        <p:txBody>
          <a:bodyPr/>
          <a:lstStyle/>
          <a:p>
            <a:r>
              <a:rPr lang="nl-NL" dirty="0"/>
              <a:t>Hoe hebben </a:t>
            </a:r>
            <a:br>
              <a:rPr lang="nl-NL" dirty="0"/>
            </a:br>
            <a:r>
              <a:rPr lang="nl-NL" dirty="0"/>
              <a:t>wij onze activiteiten georganiseerd?</a:t>
            </a:r>
            <a:endParaRPr lang="en-NL" dirty="0"/>
          </a:p>
        </p:txBody>
      </p:sp>
      <p:grpSp>
        <p:nvGrpSpPr>
          <p:cNvPr id="19" name="Groep 18">
            <a:extLst>
              <a:ext uri="{FF2B5EF4-FFF2-40B4-BE49-F238E27FC236}">
                <a16:creationId xmlns:a16="http://schemas.microsoft.com/office/drawing/2014/main" id="{A60398D2-6305-CB7E-6D76-75232F2EF606}"/>
              </a:ext>
            </a:extLst>
          </p:cNvPr>
          <p:cNvGrpSpPr/>
          <p:nvPr/>
        </p:nvGrpSpPr>
        <p:grpSpPr>
          <a:xfrm>
            <a:off x="5399168" y="677611"/>
            <a:ext cx="5443106" cy="5443106"/>
            <a:chOff x="5399168" y="677611"/>
            <a:chExt cx="5443106" cy="5443106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5" name="Graphic 11">
              <a:extLst>
                <a:ext uri="{FF2B5EF4-FFF2-40B4-BE49-F238E27FC236}">
                  <a16:creationId xmlns:a16="http://schemas.microsoft.com/office/drawing/2014/main" id="{CD7C7D14-5CEA-DC53-BFEC-249BD0C932D9}"/>
                </a:ext>
              </a:extLst>
            </p:cNvPr>
            <p:cNvGrpSpPr/>
            <p:nvPr/>
          </p:nvGrpSpPr>
          <p:grpSpPr>
            <a:xfrm>
              <a:off x="5399168" y="677611"/>
              <a:ext cx="5443106" cy="5443106"/>
              <a:chOff x="5399168" y="677611"/>
              <a:chExt cx="5443106" cy="5443106"/>
            </a:xfrm>
            <a:solidFill>
              <a:schemeClr val="accent3"/>
            </a:solidFill>
          </p:grpSpPr>
          <p:sp>
            <p:nvSpPr>
              <p:cNvPr id="6" name="Vrije vorm 5">
                <a:extLst>
                  <a:ext uri="{FF2B5EF4-FFF2-40B4-BE49-F238E27FC236}">
                    <a16:creationId xmlns:a16="http://schemas.microsoft.com/office/drawing/2014/main" id="{482D2649-7D8C-B155-C77E-C2F7F359119B}"/>
                  </a:ext>
                </a:extLst>
              </p:cNvPr>
              <p:cNvSpPr/>
              <p:nvPr/>
            </p:nvSpPr>
            <p:spPr>
              <a:xfrm>
                <a:off x="6231963" y="677611"/>
                <a:ext cx="1870440" cy="1640617"/>
              </a:xfrm>
              <a:custGeom>
                <a:avLst/>
                <a:gdLst>
                  <a:gd name="connsiteX0" fmla="*/ 16039 w 1870440"/>
                  <a:gd name="connsiteY0" fmla="*/ 822980 h 1640617"/>
                  <a:gd name="connsiteX1" fmla="*/ 17136 w 1870440"/>
                  <a:gd name="connsiteY1" fmla="*/ 744229 h 1640617"/>
                  <a:gd name="connsiteX2" fmla="*/ 828767 w 1870440"/>
                  <a:gd name="connsiteY2" fmla="*/ 213160 h 1640617"/>
                  <a:gd name="connsiteX3" fmla="*/ 1814163 w 1870440"/>
                  <a:gd name="connsiteY3" fmla="*/ 20 h 1640617"/>
                  <a:gd name="connsiteX4" fmla="*/ 1870441 w 1870440"/>
                  <a:gd name="connsiteY4" fmla="*/ 54926 h 1640617"/>
                  <a:gd name="connsiteX5" fmla="*/ 1870441 w 1870440"/>
                  <a:gd name="connsiteY5" fmla="*/ 1188507 h 1640617"/>
                  <a:gd name="connsiteX6" fmla="*/ 1818000 w 1870440"/>
                  <a:gd name="connsiteY6" fmla="*/ 1243231 h 1640617"/>
                  <a:gd name="connsiteX7" fmla="*/ 893358 w 1870440"/>
                  <a:gd name="connsiteY7" fmla="*/ 1626207 h 1640617"/>
                  <a:gd name="connsiteX8" fmla="*/ 817621 w 1870440"/>
                  <a:gd name="connsiteY8" fmla="*/ 1624654 h 1640617"/>
                  <a:gd name="connsiteX9" fmla="*/ 16039 w 1870440"/>
                  <a:gd name="connsiteY9" fmla="*/ 823071 h 1640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70440" h="1640617">
                    <a:moveTo>
                      <a:pt x="16039" y="822980"/>
                    </a:moveTo>
                    <a:cubicBezTo>
                      <a:pt x="-5796" y="801145"/>
                      <a:pt x="-5247" y="765515"/>
                      <a:pt x="17136" y="744229"/>
                    </a:cubicBezTo>
                    <a:cubicBezTo>
                      <a:pt x="254668" y="519121"/>
                      <a:pt x="527375" y="340605"/>
                      <a:pt x="828767" y="213160"/>
                    </a:cubicBezTo>
                    <a:cubicBezTo>
                      <a:pt x="1142037" y="80781"/>
                      <a:pt x="1473212" y="9156"/>
                      <a:pt x="1814163" y="20"/>
                    </a:cubicBezTo>
                    <a:cubicBezTo>
                      <a:pt x="1845042" y="-802"/>
                      <a:pt x="1870441" y="24047"/>
                      <a:pt x="1870441" y="54926"/>
                    </a:cubicBezTo>
                    <a:lnTo>
                      <a:pt x="1870441" y="1188507"/>
                    </a:lnTo>
                    <a:cubicBezTo>
                      <a:pt x="1870441" y="1217833"/>
                      <a:pt x="1847326" y="1241860"/>
                      <a:pt x="1818000" y="1243231"/>
                    </a:cubicBezTo>
                    <a:cubicBezTo>
                      <a:pt x="1472755" y="1259401"/>
                      <a:pt x="1148889" y="1393516"/>
                      <a:pt x="893358" y="1626207"/>
                    </a:cubicBezTo>
                    <a:cubicBezTo>
                      <a:pt x="871706" y="1645940"/>
                      <a:pt x="838360" y="1645392"/>
                      <a:pt x="817621" y="1624654"/>
                    </a:cubicBezTo>
                    <a:lnTo>
                      <a:pt x="16039" y="823071"/>
                    </a:ln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7" name="Vrije vorm 6">
                <a:extLst>
                  <a:ext uri="{FF2B5EF4-FFF2-40B4-BE49-F238E27FC236}">
                    <a16:creationId xmlns:a16="http://schemas.microsoft.com/office/drawing/2014/main" id="{6868E076-1D36-2C1D-A6E8-EEF8C51793E7}"/>
                  </a:ext>
                </a:extLst>
              </p:cNvPr>
              <p:cNvSpPr/>
              <p:nvPr/>
            </p:nvSpPr>
            <p:spPr>
              <a:xfrm>
                <a:off x="5399168" y="1510453"/>
                <a:ext cx="1640652" cy="1870484"/>
              </a:xfrm>
              <a:custGeom>
                <a:avLst/>
                <a:gdLst>
                  <a:gd name="connsiteX0" fmla="*/ 54926 w 1640652"/>
                  <a:gd name="connsiteY0" fmla="*/ 1870394 h 1870484"/>
                  <a:gd name="connsiteX1" fmla="*/ 20 w 1640652"/>
                  <a:gd name="connsiteY1" fmla="*/ 1813934 h 1870484"/>
                  <a:gd name="connsiteX2" fmla="*/ 198451 w 1640652"/>
                  <a:gd name="connsiteY2" fmla="*/ 864533 h 1870484"/>
                  <a:gd name="connsiteX3" fmla="*/ 744411 w 1640652"/>
                  <a:gd name="connsiteY3" fmla="*/ 17089 h 1870484"/>
                  <a:gd name="connsiteX4" fmla="*/ 823071 w 1640652"/>
                  <a:gd name="connsiteY4" fmla="*/ 16084 h 1870484"/>
                  <a:gd name="connsiteX5" fmla="*/ 1624654 w 1640652"/>
                  <a:gd name="connsiteY5" fmla="*/ 817666 h 1870484"/>
                  <a:gd name="connsiteX6" fmla="*/ 1626207 w 1640652"/>
                  <a:gd name="connsiteY6" fmla="*/ 893402 h 1870484"/>
                  <a:gd name="connsiteX7" fmla="*/ 1243231 w 1640652"/>
                  <a:gd name="connsiteY7" fmla="*/ 1818045 h 1870484"/>
                  <a:gd name="connsiteX8" fmla="*/ 1188507 w 1640652"/>
                  <a:gd name="connsiteY8" fmla="*/ 1870485 h 1870484"/>
                  <a:gd name="connsiteX9" fmla="*/ 54926 w 1640652"/>
                  <a:gd name="connsiteY9" fmla="*/ 1870485 h 1870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0652" h="1870484">
                    <a:moveTo>
                      <a:pt x="54926" y="1870394"/>
                    </a:moveTo>
                    <a:cubicBezTo>
                      <a:pt x="24047" y="1870394"/>
                      <a:pt x="-802" y="1844813"/>
                      <a:pt x="20" y="1813934"/>
                    </a:cubicBezTo>
                    <a:cubicBezTo>
                      <a:pt x="8790" y="1486778"/>
                      <a:pt x="75482" y="1167753"/>
                      <a:pt x="198451" y="864533"/>
                    </a:cubicBezTo>
                    <a:cubicBezTo>
                      <a:pt x="326262" y="549345"/>
                      <a:pt x="509802" y="264580"/>
                      <a:pt x="744411" y="17089"/>
                    </a:cubicBezTo>
                    <a:cubicBezTo>
                      <a:pt x="765607" y="-5294"/>
                      <a:pt x="801237" y="-5751"/>
                      <a:pt x="823071" y="16084"/>
                    </a:cubicBezTo>
                    <a:lnTo>
                      <a:pt x="1624654" y="817666"/>
                    </a:lnTo>
                    <a:cubicBezTo>
                      <a:pt x="1645392" y="838404"/>
                      <a:pt x="1646032" y="871750"/>
                      <a:pt x="1626207" y="893402"/>
                    </a:cubicBezTo>
                    <a:cubicBezTo>
                      <a:pt x="1393424" y="1148933"/>
                      <a:pt x="1259310" y="1472800"/>
                      <a:pt x="1243231" y="1818045"/>
                    </a:cubicBezTo>
                    <a:cubicBezTo>
                      <a:pt x="1241860" y="1847371"/>
                      <a:pt x="1217924" y="1870485"/>
                      <a:pt x="1188507" y="1870485"/>
                    </a:cubicBezTo>
                    <a:lnTo>
                      <a:pt x="54926" y="1870485"/>
                    </a:ln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8" name="Vrije vorm 7">
                <a:extLst>
                  <a:ext uri="{FF2B5EF4-FFF2-40B4-BE49-F238E27FC236}">
                    <a16:creationId xmlns:a16="http://schemas.microsoft.com/office/drawing/2014/main" id="{83219B15-37D5-443C-14FF-69383E1CA0B4}"/>
                  </a:ext>
                </a:extLst>
              </p:cNvPr>
              <p:cNvSpPr/>
              <p:nvPr/>
            </p:nvSpPr>
            <p:spPr>
              <a:xfrm>
                <a:off x="5399168" y="3417481"/>
                <a:ext cx="1640525" cy="1870349"/>
              </a:xfrm>
              <a:custGeom>
                <a:avLst/>
                <a:gdLst>
                  <a:gd name="connsiteX0" fmla="*/ 822980 w 1640525"/>
                  <a:gd name="connsiteY0" fmla="*/ 1854310 h 1870349"/>
                  <a:gd name="connsiteX1" fmla="*/ 744229 w 1640525"/>
                  <a:gd name="connsiteY1" fmla="*/ 1853214 h 1870349"/>
                  <a:gd name="connsiteX2" fmla="*/ 213160 w 1640525"/>
                  <a:gd name="connsiteY2" fmla="*/ 1041582 h 1870349"/>
                  <a:gd name="connsiteX3" fmla="*/ 20 w 1640525"/>
                  <a:gd name="connsiteY3" fmla="*/ 56277 h 1870349"/>
                  <a:gd name="connsiteX4" fmla="*/ 54835 w 1640525"/>
                  <a:gd name="connsiteY4" fmla="*/ 0 h 1870349"/>
                  <a:gd name="connsiteX5" fmla="*/ 1188415 w 1640525"/>
                  <a:gd name="connsiteY5" fmla="*/ 0 h 1870349"/>
                  <a:gd name="connsiteX6" fmla="*/ 1243139 w 1640525"/>
                  <a:gd name="connsiteY6" fmla="*/ 52440 h 1870349"/>
                  <a:gd name="connsiteX7" fmla="*/ 1626115 w 1640525"/>
                  <a:gd name="connsiteY7" fmla="*/ 977083 h 1870349"/>
                  <a:gd name="connsiteX8" fmla="*/ 1624562 w 1640525"/>
                  <a:gd name="connsiteY8" fmla="*/ 1052819 h 1870349"/>
                  <a:gd name="connsiteX9" fmla="*/ 822980 w 1640525"/>
                  <a:gd name="connsiteY9" fmla="*/ 1854401 h 1870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0525" h="1870349">
                    <a:moveTo>
                      <a:pt x="822980" y="1854310"/>
                    </a:moveTo>
                    <a:cubicBezTo>
                      <a:pt x="801145" y="1876145"/>
                      <a:pt x="765515" y="1875597"/>
                      <a:pt x="744229" y="1853214"/>
                    </a:cubicBezTo>
                    <a:cubicBezTo>
                      <a:pt x="519121" y="1615681"/>
                      <a:pt x="340605" y="1342883"/>
                      <a:pt x="213160" y="1041582"/>
                    </a:cubicBezTo>
                    <a:cubicBezTo>
                      <a:pt x="80781" y="728312"/>
                      <a:pt x="9156" y="397228"/>
                      <a:pt x="20" y="56277"/>
                    </a:cubicBezTo>
                    <a:cubicBezTo>
                      <a:pt x="-802" y="25398"/>
                      <a:pt x="24047" y="0"/>
                      <a:pt x="54835" y="0"/>
                    </a:cubicBezTo>
                    <a:lnTo>
                      <a:pt x="1188415" y="0"/>
                    </a:lnTo>
                    <a:cubicBezTo>
                      <a:pt x="1217741" y="0"/>
                      <a:pt x="1241769" y="23114"/>
                      <a:pt x="1243139" y="52440"/>
                    </a:cubicBezTo>
                    <a:cubicBezTo>
                      <a:pt x="1259310" y="397685"/>
                      <a:pt x="1393424" y="721552"/>
                      <a:pt x="1626115" y="977083"/>
                    </a:cubicBezTo>
                    <a:cubicBezTo>
                      <a:pt x="1645849" y="998735"/>
                      <a:pt x="1645301" y="1032081"/>
                      <a:pt x="1624562" y="1052819"/>
                    </a:cubicBezTo>
                    <a:lnTo>
                      <a:pt x="822980" y="1854401"/>
                    </a:ln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9" name="Vrije vorm 8">
                <a:extLst>
                  <a:ext uri="{FF2B5EF4-FFF2-40B4-BE49-F238E27FC236}">
                    <a16:creationId xmlns:a16="http://schemas.microsoft.com/office/drawing/2014/main" id="{0BAE496B-3B11-AB9B-D30A-1B0D7C50FEF7}"/>
                  </a:ext>
                </a:extLst>
              </p:cNvPr>
              <p:cNvSpPr/>
              <p:nvPr/>
            </p:nvSpPr>
            <p:spPr>
              <a:xfrm>
                <a:off x="6232010" y="4480064"/>
                <a:ext cx="1870484" cy="1640652"/>
              </a:xfrm>
              <a:custGeom>
                <a:avLst/>
                <a:gdLst>
                  <a:gd name="connsiteX0" fmla="*/ 1870394 w 1870484"/>
                  <a:gd name="connsiteY0" fmla="*/ 1585726 h 1640652"/>
                  <a:gd name="connsiteX1" fmla="*/ 1813934 w 1870484"/>
                  <a:gd name="connsiteY1" fmla="*/ 1640632 h 1640652"/>
                  <a:gd name="connsiteX2" fmla="*/ 864533 w 1870484"/>
                  <a:gd name="connsiteY2" fmla="*/ 1442201 h 1640652"/>
                  <a:gd name="connsiteX3" fmla="*/ 17089 w 1870484"/>
                  <a:gd name="connsiteY3" fmla="*/ 896241 h 1640652"/>
                  <a:gd name="connsiteX4" fmla="*/ 16084 w 1870484"/>
                  <a:gd name="connsiteY4" fmla="*/ 817581 h 1640652"/>
                  <a:gd name="connsiteX5" fmla="*/ 817666 w 1870484"/>
                  <a:gd name="connsiteY5" fmla="*/ 15999 h 1640652"/>
                  <a:gd name="connsiteX6" fmla="*/ 893402 w 1870484"/>
                  <a:gd name="connsiteY6" fmla="*/ 14446 h 1640652"/>
                  <a:gd name="connsiteX7" fmla="*/ 1818045 w 1870484"/>
                  <a:gd name="connsiteY7" fmla="*/ 397422 h 1640652"/>
                  <a:gd name="connsiteX8" fmla="*/ 1870485 w 1870484"/>
                  <a:gd name="connsiteY8" fmla="*/ 452146 h 1640652"/>
                  <a:gd name="connsiteX9" fmla="*/ 1870485 w 1870484"/>
                  <a:gd name="connsiteY9" fmla="*/ 1585726 h 1640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70484" h="1640652">
                    <a:moveTo>
                      <a:pt x="1870394" y="1585726"/>
                    </a:moveTo>
                    <a:cubicBezTo>
                      <a:pt x="1870394" y="1616605"/>
                      <a:pt x="1844813" y="1641455"/>
                      <a:pt x="1813934" y="1640632"/>
                    </a:cubicBezTo>
                    <a:cubicBezTo>
                      <a:pt x="1486778" y="1631862"/>
                      <a:pt x="1167753" y="1565171"/>
                      <a:pt x="864533" y="1442201"/>
                    </a:cubicBezTo>
                    <a:cubicBezTo>
                      <a:pt x="549345" y="1314391"/>
                      <a:pt x="264580" y="1130850"/>
                      <a:pt x="17089" y="896241"/>
                    </a:cubicBezTo>
                    <a:cubicBezTo>
                      <a:pt x="-5294" y="875046"/>
                      <a:pt x="-5751" y="839416"/>
                      <a:pt x="16084" y="817581"/>
                    </a:cubicBezTo>
                    <a:lnTo>
                      <a:pt x="817666" y="15999"/>
                    </a:lnTo>
                    <a:cubicBezTo>
                      <a:pt x="838404" y="-4740"/>
                      <a:pt x="871750" y="-5379"/>
                      <a:pt x="893402" y="14446"/>
                    </a:cubicBezTo>
                    <a:cubicBezTo>
                      <a:pt x="1148933" y="247137"/>
                      <a:pt x="1472800" y="381343"/>
                      <a:pt x="1818045" y="397422"/>
                    </a:cubicBezTo>
                    <a:cubicBezTo>
                      <a:pt x="1847371" y="398792"/>
                      <a:pt x="1870485" y="422728"/>
                      <a:pt x="1870485" y="452146"/>
                    </a:cubicBezTo>
                    <a:lnTo>
                      <a:pt x="1870485" y="1585726"/>
                    </a:ln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0" name="Vrije vorm 9">
                <a:extLst>
                  <a:ext uri="{FF2B5EF4-FFF2-40B4-BE49-F238E27FC236}">
                    <a16:creationId xmlns:a16="http://schemas.microsoft.com/office/drawing/2014/main" id="{C497F417-217D-DD41-4106-E26503742BCD}"/>
                  </a:ext>
                </a:extLst>
              </p:cNvPr>
              <p:cNvSpPr/>
              <p:nvPr/>
            </p:nvSpPr>
            <p:spPr>
              <a:xfrm>
                <a:off x="8139038" y="4480100"/>
                <a:ext cx="1870349" cy="1640617"/>
              </a:xfrm>
              <a:custGeom>
                <a:avLst/>
                <a:gdLst>
                  <a:gd name="connsiteX0" fmla="*/ 52349 w 1870349"/>
                  <a:gd name="connsiteY0" fmla="*/ 397387 h 1640617"/>
                  <a:gd name="connsiteX1" fmla="*/ 976991 w 1870349"/>
                  <a:gd name="connsiteY1" fmla="*/ 14411 h 1640617"/>
                  <a:gd name="connsiteX2" fmla="*/ 1052728 w 1870349"/>
                  <a:gd name="connsiteY2" fmla="*/ 15964 h 1640617"/>
                  <a:gd name="connsiteX3" fmla="*/ 1854310 w 1870349"/>
                  <a:gd name="connsiteY3" fmla="*/ 817546 h 1640617"/>
                  <a:gd name="connsiteX4" fmla="*/ 1853214 w 1870349"/>
                  <a:gd name="connsiteY4" fmla="*/ 896297 h 1640617"/>
                  <a:gd name="connsiteX5" fmla="*/ 1041582 w 1870349"/>
                  <a:gd name="connsiteY5" fmla="*/ 1427366 h 1640617"/>
                  <a:gd name="connsiteX6" fmla="*/ 56277 w 1870349"/>
                  <a:gd name="connsiteY6" fmla="*/ 1640597 h 1640617"/>
                  <a:gd name="connsiteX7" fmla="*/ 0 w 1870349"/>
                  <a:gd name="connsiteY7" fmla="*/ 1585691 h 1640617"/>
                  <a:gd name="connsiteX8" fmla="*/ 0 w 1870349"/>
                  <a:gd name="connsiteY8" fmla="*/ 452111 h 1640617"/>
                  <a:gd name="connsiteX9" fmla="*/ 52440 w 1870349"/>
                  <a:gd name="connsiteY9" fmla="*/ 397387 h 1640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70349" h="1640617">
                    <a:moveTo>
                      <a:pt x="52349" y="397387"/>
                    </a:moveTo>
                    <a:cubicBezTo>
                      <a:pt x="397594" y="381216"/>
                      <a:pt x="721461" y="247102"/>
                      <a:pt x="976991" y="14411"/>
                    </a:cubicBezTo>
                    <a:cubicBezTo>
                      <a:pt x="998643" y="-5323"/>
                      <a:pt x="1031989" y="-4775"/>
                      <a:pt x="1052728" y="15964"/>
                    </a:cubicBezTo>
                    <a:lnTo>
                      <a:pt x="1854310" y="817546"/>
                    </a:lnTo>
                    <a:cubicBezTo>
                      <a:pt x="1876145" y="839381"/>
                      <a:pt x="1875597" y="875011"/>
                      <a:pt x="1853214" y="896297"/>
                    </a:cubicBezTo>
                    <a:cubicBezTo>
                      <a:pt x="1615681" y="1121406"/>
                      <a:pt x="1342975" y="1299920"/>
                      <a:pt x="1041582" y="1427366"/>
                    </a:cubicBezTo>
                    <a:cubicBezTo>
                      <a:pt x="728312" y="1559836"/>
                      <a:pt x="397228" y="1631461"/>
                      <a:pt x="56277" y="1640597"/>
                    </a:cubicBezTo>
                    <a:cubicBezTo>
                      <a:pt x="25398" y="1641420"/>
                      <a:pt x="0" y="1616570"/>
                      <a:pt x="0" y="1585691"/>
                    </a:cubicBezTo>
                    <a:lnTo>
                      <a:pt x="0" y="452111"/>
                    </a:lnTo>
                    <a:cubicBezTo>
                      <a:pt x="0" y="422784"/>
                      <a:pt x="23114" y="398757"/>
                      <a:pt x="52440" y="397387"/>
                    </a:cubicBez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1" name="Vrije vorm 10">
                <a:extLst>
                  <a:ext uri="{FF2B5EF4-FFF2-40B4-BE49-F238E27FC236}">
                    <a16:creationId xmlns:a16="http://schemas.microsoft.com/office/drawing/2014/main" id="{5A69DA43-5E71-779C-AB0C-ADC296E92B05}"/>
                  </a:ext>
                </a:extLst>
              </p:cNvPr>
              <p:cNvSpPr/>
              <p:nvPr/>
            </p:nvSpPr>
            <p:spPr>
              <a:xfrm>
                <a:off x="9201713" y="3417390"/>
                <a:ext cx="1640560" cy="1870393"/>
              </a:xfrm>
              <a:custGeom>
                <a:avLst/>
                <a:gdLst>
                  <a:gd name="connsiteX0" fmla="*/ 14354 w 1640560"/>
                  <a:gd name="connsiteY0" fmla="*/ 977082 h 1870393"/>
                  <a:gd name="connsiteX1" fmla="*/ 397330 w 1640560"/>
                  <a:gd name="connsiteY1" fmla="*/ 52440 h 1870393"/>
                  <a:gd name="connsiteX2" fmla="*/ 452055 w 1640560"/>
                  <a:gd name="connsiteY2" fmla="*/ 0 h 1870393"/>
                  <a:gd name="connsiteX3" fmla="*/ 1585635 w 1640560"/>
                  <a:gd name="connsiteY3" fmla="*/ 0 h 1870393"/>
                  <a:gd name="connsiteX4" fmla="*/ 1640541 w 1640560"/>
                  <a:gd name="connsiteY4" fmla="*/ 56460 h 1870393"/>
                  <a:gd name="connsiteX5" fmla="*/ 1442201 w 1640560"/>
                  <a:gd name="connsiteY5" fmla="*/ 1005860 h 1870393"/>
                  <a:gd name="connsiteX6" fmla="*/ 896241 w 1640560"/>
                  <a:gd name="connsiteY6" fmla="*/ 1853305 h 1870393"/>
                  <a:gd name="connsiteX7" fmla="*/ 817581 w 1640560"/>
                  <a:gd name="connsiteY7" fmla="*/ 1854310 h 1870393"/>
                  <a:gd name="connsiteX8" fmla="*/ 15999 w 1640560"/>
                  <a:gd name="connsiteY8" fmla="*/ 1052727 h 1870393"/>
                  <a:gd name="connsiteX9" fmla="*/ 14446 w 1640560"/>
                  <a:gd name="connsiteY9" fmla="*/ 976991 h 1870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0560" h="1870393">
                    <a:moveTo>
                      <a:pt x="14354" y="977082"/>
                    </a:moveTo>
                    <a:cubicBezTo>
                      <a:pt x="247045" y="721552"/>
                      <a:pt x="381252" y="397685"/>
                      <a:pt x="397330" y="52440"/>
                    </a:cubicBezTo>
                    <a:cubicBezTo>
                      <a:pt x="398701" y="23114"/>
                      <a:pt x="422637" y="0"/>
                      <a:pt x="452055" y="0"/>
                    </a:cubicBezTo>
                    <a:lnTo>
                      <a:pt x="1585635" y="0"/>
                    </a:lnTo>
                    <a:cubicBezTo>
                      <a:pt x="1616514" y="0"/>
                      <a:pt x="1641364" y="25580"/>
                      <a:pt x="1640541" y="56460"/>
                    </a:cubicBezTo>
                    <a:cubicBezTo>
                      <a:pt x="1631771" y="383616"/>
                      <a:pt x="1565079" y="702640"/>
                      <a:pt x="1442201" y="1005860"/>
                    </a:cubicBezTo>
                    <a:cubicBezTo>
                      <a:pt x="1314391" y="1321048"/>
                      <a:pt x="1130850" y="1605814"/>
                      <a:pt x="896241" y="1853305"/>
                    </a:cubicBezTo>
                    <a:cubicBezTo>
                      <a:pt x="875046" y="1875688"/>
                      <a:pt x="839416" y="1876144"/>
                      <a:pt x="817581" y="1854310"/>
                    </a:cubicBezTo>
                    <a:lnTo>
                      <a:pt x="15999" y="1052727"/>
                    </a:lnTo>
                    <a:cubicBezTo>
                      <a:pt x="-4739" y="1031989"/>
                      <a:pt x="-5379" y="998643"/>
                      <a:pt x="14446" y="976991"/>
                    </a:cubicBez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3" name="Vrije vorm 12">
                <a:extLst>
                  <a:ext uri="{FF2B5EF4-FFF2-40B4-BE49-F238E27FC236}">
                    <a16:creationId xmlns:a16="http://schemas.microsoft.com/office/drawing/2014/main" id="{F59E76DB-DC07-46B6-3FB0-045C2E088E55}"/>
                  </a:ext>
                </a:extLst>
              </p:cNvPr>
              <p:cNvSpPr/>
              <p:nvPr/>
            </p:nvSpPr>
            <p:spPr>
              <a:xfrm>
                <a:off x="9201657" y="1510406"/>
                <a:ext cx="1640617" cy="1870348"/>
              </a:xfrm>
              <a:custGeom>
                <a:avLst/>
                <a:gdLst>
                  <a:gd name="connsiteX0" fmla="*/ 397387 w 1640617"/>
                  <a:gd name="connsiteY0" fmla="*/ 1818000 h 1870348"/>
                  <a:gd name="connsiteX1" fmla="*/ 14411 w 1640617"/>
                  <a:gd name="connsiteY1" fmla="*/ 893358 h 1870348"/>
                  <a:gd name="connsiteX2" fmla="*/ 15964 w 1640617"/>
                  <a:gd name="connsiteY2" fmla="*/ 817621 h 1870348"/>
                  <a:gd name="connsiteX3" fmla="*/ 817546 w 1640617"/>
                  <a:gd name="connsiteY3" fmla="*/ 16039 h 1870348"/>
                  <a:gd name="connsiteX4" fmla="*/ 896297 w 1640617"/>
                  <a:gd name="connsiteY4" fmla="*/ 17136 h 1870348"/>
                  <a:gd name="connsiteX5" fmla="*/ 1427366 w 1640617"/>
                  <a:gd name="connsiteY5" fmla="*/ 828767 h 1870348"/>
                  <a:gd name="connsiteX6" fmla="*/ 1640597 w 1640617"/>
                  <a:gd name="connsiteY6" fmla="*/ 1814072 h 1870348"/>
                  <a:gd name="connsiteX7" fmla="*/ 1585782 w 1640617"/>
                  <a:gd name="connsiteY7" fmla="*/ 1870349 h 1870348"/>
                  <a:gd name="connsiteX8" fmla="*/ 452202 w 1640617"/>
                  <a:gd name="connsiteY8" fmla="*/ 1870349 h 1870348"/>
                  <a:gd name="connsiteX9" fmla="*/ 397478 w 1640617"/>
                  <a:gd name="connsiteY9" fmla="*/ 1817909 h 1870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0617" h="1870348">
                    <a:moveTo>
                      <a:pt x="397387" y="1818000"/>
                    </a:moveTo>
                    <a:cubicBezTo>
                      <a:pt x="381216" y="1472755"/>
                      <a:pt x="247102" y="1148889"/>
                      <a:pt x="14411" y="893358"/>
                    </a:cubicBezTo>
                    <a:cubicBezTo>
                      <a:pt x="-5323" y="871706"/>
                      <a:pt x="-4775" y="838360"/>
                      <a:pt x="15964" y="817621"/>
                    </a:cubicBezTo>
                    <a:lnTo>
                      <a:pt x="817546" y="16039"/>
                    </a:lnTo>
                    <a:cubicBezTo>
                      <a:pt x="839381" y="-5796"/>
                      <a:pt x="875011" y="-5247"/>
                      <a:pt x="896297" y="17136"/>
                    </a:cubicBezTo>
                    <a:cubicBezTo>
                      <a:pt x="1121406" y="254668"/>
                      <a:pt x="1299920" y="527466"/>
                      <a:pt x="1427366" y="828767"/>
                    </a:cubicBezTo>
                    <a:cubicBezTo>
                      <a:pt x="1559836" y="1142037"/>
                      <a:pt x="1631461" y="1473121"/>
                      <a:pt x="1640597" y="1814072"/>
                    </a:cubicBezTo>
                    <a:cubicBezTo>
                      <a:pt x="1641420" y="1844951"/>
                      <a:pt x="1616570" y="1870349"/>
                      <a:pt x="1585782" y="1870349"/>
                    </a:cubicBezTo>
                    <a:lnTo>
                      <a:pt x="452202" y="1870349"/>
                    </a:lnTo>
                    <a:cubicBezTo>
                      <a:pt x="422876" y="1870349"/>
                      <a:pt x="398848" y="1847235"/>
                      <a:pt x="397478" y="1817909"/>
                    </a:cubicBez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15" name="Vrije vorm 14">
                <a:extLst>
                  <a:ext uri="{FF2B5EF4-FFF2-40B4-BE49-F238E27FC236}">
                    <a16:creationId xmlns:a16="http://schemas.microsoft.com/office/drawing/2014/main" id="{B351A606-7088-2854-7B52-7A79CB12C663}"/>
                  </a:ext>
                </a:extLst>
              </p:cNvPr>
              <p:cNvSpPr/>
              <p:nvPr/>
            </p:nvSpPr>
            <p:spPr>
              <a:xfrm>
                <a:off x="8138947" y="677611"/>
                <a:ext cx="1870393" cy="1640652"/>
              </a:xfrm>
              <a:custGeom>
                <a:avLst/>
                <a:gdLst>
                  <a:gd name="connsiteX0" fmla="*/ 977082 w 1870393"/>
                  <a:gd name="connsiteY0" fmla="*/ 1626207 h 1640652"/>
                  <a:gd name="connsiteX1" fmla="*/ 52440 w 1870393"/>
                  <a:gd name="connsiteY1" fmla="*/ 1243231 h 1640652"/>
                  <a:gd name="connsiteX2" fmla="*/ 0 w 1870393"/>
                  <a:gd name="connsiteY2" fmla="*/ 1188507 h 1640652"/>
                  <a:gd name="connsiteX3" fmla="*/ 0 w 1870393"/>
                  <a:gd name="connsiteY3" fmla="*/ 54926 h 1640652"/>
                  <a:gd name="connsiteX4" fmla="*/ 56460 w 1870393"/>
                  <a:gd name="connsiteY4" fmla="*/ 20 h 1640652"/>
                  <a:gd name="connsiteX5" fmla="*/ 1005860 w 1870393"/>
                  <a:gd name="connsiteY5" fmla="*/ 198451 h 1640652"/>
                  <a:gd name="connsiteX6" fmla="*/ 1853305 w 1870393"/>
                  <a:gd name="connsiteY6" fmla="*/ 744411 h 1640652"/>
                  <a:gd name="connsiteX7" fmla="*/ 1854310 w 1870393"/>
                  <a:gd name="connsiteY7" fmla="*/ 823071 h 1640652"/>
                  <a:gd name="connsiteX8" fmla="*/ 1052727 w 1870393"/>
                  <a:gd name="connsiteY8" fmla="*/ 1624654 h 1640652"/>
                  <a:gd name="connsiteX9" fmla="*/ 976991 w 1870393"/>
                  <a:gd name="connsiteY9" fmla="*/ 1626207 h 1640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70393" h="1640652">
                    <a:moveTo>
                      <a:pt x="977082" y="1626207"/>
                    </a:moveTo>
                    <a:cubicBezTo>
                      <a:pt x="721552" y="1393424"/>
                      <a:pt x="397685" y="1259310"/>
                      <a:pt x="52440" y="1243231"/>
                    </a:cubicBezTo>
                    <a:cubicBezTo>
                      <a:pt x="23114" y="1241860"/>
                      <a:pt x="0" y="1217924"/>
                      <a:pt x="0" y="1188507"/>
                    </a:cubicBezTo>
                    <a:lnTo>
                      <a:pt x="0" y="54926"/>
                    </a:lnTo>
                    <a:cubicBezTo>
                      <a:pt x="0" y="24047"/>
                      <a:pt x="25580" y="-802"/>
                      <a:pt x="56460" y="20"/>
                    </a:cubicBezTo>
                    <a:cubicBezTo>
                      <a:pt x="383616" y="8790"/>
                      <a:pt x="702640" y="75482"/>
                      <a:pt x="1005860" y="198451"/>
                    </a:cubicBezTo>
                    <a:cubicBezTo>
                      <a:pt x="1321048" y="326262"/>
                      <a:pt x="1605814" y="509802"/>
                      <a:pt x="1853305" y="744411"/>
                    </a:cubicBezTo>
                    <a:cubicBezTo>
                      <a:pt x="1875688" y="765607"/>
                      <a:pt x="1876144" y="801237"/>
                      <a:pt x="1854310" y="823071"/>
                    </a:cubicBezTo>
                    <a:lnTo>
                      <a:pt x="1052727" y="1624654"/>
                    </a:lnTo>
                    <a:cubicBezTo>
                      <a:pt x="1031989" y="1645392"/>
                      <a:pt x="998643" y="1646032"/>
                      <a:pt x="976991" y="1626207"/>
                    </a:cubicBezTo>
                    <a:close/>
                  </a:path>
                </a:pathLst>
              </a:custGeom>
              <a:solidFill>
                <a:srgbClr val="171A6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4" name="Ovaal 13">
              <a:extLst>
                <a:ext uri="{FF2B5EF4-FFF2-40B4-BE49-F238E27FC236}">
                  <a16:creationId xmlns:a16="http://schemas.microsoft.com/office/drawing/2014/main" id="{7D7C7F1D-0B1B-9524-3FB1-E9B916DDFF66}"/>
                </a:ext>
              </a:extLst>
            </p:cNvPr>
            <p:cNvSpPr/>
            <p:nvPr/>
          </p:nvSpPr>
          <p:spPr>
            <a:xfrm>
              <a:off x="6178378" y="1466423"/>
              <a:ext cx="3896498" cy="3867399"/>
            </a:xfrm>
            <a:prstGeom prst="ellipse">
              <a:avLst/>
            </a:prstGeom>
            <a:noFill/>
            <a:ln w="1143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8" name="Groep 17">
              <a:extLst>
                <a:ext uri="{FF2B5EF4-FFF2-40B4-BE49-F238E27FC236}">
                  <a16:creationId xmlns:a16="http://schemas.microsoft.com/office/drawing/2014/main" id="{9C83DF9B-DEBC-042D-E914-7022C3676B9E}"/>
                </a:ext>
              </a:extLst>
            </p:cNvPr>
            <p:cNvGrpSpPr/>
            <p:nvPr/>
          </p:nvGrpSpPr>
          <p:grpSpPr>
            <a:xfrm>
              <a:off x="5692489" y="1052820"/>
              <a:ext cx="4803228" cy="4794316"/>
              <a:chOff x="5692489" y="1052820"/>
              <a:chExt cx="4803228" cy="4794316"/>
            </a:xfrm>
          </p:grpSpPr>
          <p:sp>
            <p:nvSpPr>
              <p:cNvPr id="72" name="Tekstvak 71">
                <a:extLst>
                  <a:ext uri="{FF2B5EF4-FFF2-40B4-BE49-F238E27FC236}">
                    <a16:creationId xmlns:a16="http://schemas.microsoft.com/office/drawing/2014/main" id="{1C951DBC-FB58-0125-6E14-733A0B1B32E7}"/>
                  </a:ext>
                </a:extLst>
              </p:cNvPr>
              <p:cNvSpPr txBox="1"/>
              <p:nvPr/>
            </p:nvSpPr>
            <p:spPr>
              <a:xfrm rot="4110173">
                <a:off x="9597730" y="2316986"/>
                <a:ext cx="136608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Operator diensten </a:t>
                </a:r>
                <a:b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</a:b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Grootzakelijk &amp; MKB</a:t>
                </a:r>
              </a:p>
            </p:txBody>
          </p:sp>
          <p:sp>
            <p:nvSpPr>
              <p:cNvPr id="74" name="Tekstvak 73">
                <a:extLst>
                  <a:ext uri="{FF2B5EF4-FFF2-40B4-BE49-F238E27FC236}">
                    <a16:creationId xmlns:a16="http://schemas.microsoft.com/office/drawing/2014/main" id="{DFDC3578-F182-D771-9034-65B35662FD69}"/>
                  </a:ext>
                </a:extLst>
              </p:cNvPr>
              <p:cNvSpPr txBox="1"/>
              <p:nvPr/>
            </p:nvSpPr>
            <p:spPr>
              <a:xfrm rot="17616301">
                <a:off x="9864294" y="4073763"/>
                <a:ext cx="862736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Networking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&amp; Security</a:t>
                </a:r>
              </a:p>
            </p:txBody>
          </p:sp>
          <p:sp>
            <p:nvSpPr>
              <p:cNvPr id="88" name="Tekstvak 87">
                <a:extLst>
                  <a:ext uri="{FF2B5EF4-FFF2-40B4-BE49-F238E27FC236}">
                    <a16:creationId xmlns:a16="http://schemas.microsoft.com/office/drawing/2014/main" id="{6871C543-4DF4-E3E2-0DC0-7D55064BD079}"/>
                  </a:ext>
                </a:extLst>
              </p:cNvPr>
              <p:cNvSpPr txBox="1"/>
              <p:nvPr/>
            </p:nvSpPr>
            <p:spPr>
              <a:xfrm rot="17489827" flipH="1">
                <a:off x="5154200" y="2199396"/>
                <a:ext cx="1630575" cy="553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Communicatie-</a:t>
                </a:r>
                <a:b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</a:b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oplossingen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Voice, Video, Messaging</a:t>
                </a:r>
              </a:p>
            </p:txBody>
          </p:sp>
          <p:sp>
            <p:nvSpPr>
              <p:cNvPr id="89" name="Tekstvak 88">
                <a:extLst>
                  <a:ext uri="{FF2B5EF4-FFF2-40B4-BE49-F238E27FC236}">
                    <a16:creationId xmlns:a16="http://schemas.microsoft.com/office/drawing/2014/main" id="{11C20725-3260-C4CB-24FD-167A7EDC43A2}"/>
                  </a:ext>
                </a:extLst>
              </p:cNvPr>
              <p:cNvSpPr txBox="1"/>
              <p:nvPr/>
            </p:nvSpPr>
            <p:spPr>
              <a:xfrm rot="3983699" flipH="1">
                <a:off x="5284189" y="3991011"/>
                <a:ext cx="1459054" cy="553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Yourizon: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ICT, </a:t>
                </a: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VOSv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 MOS/MAS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voor Care &amp; Cure</a:t>
                </a:r>
              </a:p>
            </p:txBody>
          </p:sp>
          <p:sp>
            <p:nvSpPr>
              <p:cNvPr id="90" name="Tekstvak 89">
                <a:extLst>
                  <a:ext uri="{FF2B5EF4-FFF2-40B4-BE49-F238E27FC236}">
                    <a16:creationId xmlns:a16="http://schemas.microsoft.com/office/drawing/2014/main" id="{5D2CBCAD-81CE-D134-C58C-5897FC900E28}"/>
                  </a:ext>
                </a:extLst>
              </p:cNvPr>
              <p:cNvSpPr txBox="1"/>
              <p:nvPr/>
            </p:nvSpPr>
            <p:spPr>
              <a:xfrm rot="1455412">
                <a:off x="8660121" y="1116574"/>
                <a:ext cx="723276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ICT MKB</a:t>
                </a:r>
              </a:p>
            </p:txBody>
          </p:sp>
          <p:sp>
            <p:nvSpPr>
              <p:cNvPr id="91" name="Tekstvak 90">
                <a:extLst>
                  <a:ext uri="{FF2B5EF4-FFF2-40B4-BE49-F238E27FC236}">
                    <a16:creationId xmlns:a16="http://schemas.microsoft.com/office/drawing/2014/main" id="{6A04A23A-8F75-18CF-8F26-AB771C6CC729}"/>
                  </a:ext>
                </a:extLst>
              </p:cNvPr>
              <p:cNvSpPr txBox="1"/>
              <p:nvPr/>
            </p:nvSpPr>
            <p:spPr>
              <a:xfrm rot="20144588" flipH="1">
                <a:off x="6612262" y="1052820"/>
                <a:ext cx="123211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ICT Midden- &amp;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Grootzakelijk</a:t>
                </a:r>
              </a:p>
            </p:txBody>
          </p:sp>
          <p:sp>
            <p:nvSpPr>
              <p:cNvPr id="92" name="Tekstvak 91">
                <a:extLst>
                  <a:ext uri="{FF2B5EF4-FFF2-40B4-BE49-F238E27FC236}">
                    <a16:creationId xmlns:a16="http://schemas.microsoft.com/office/drawing/2014/main" id="{9FA72401-91A5-D9CB-DA39-24399C6718ED}"/>
                  </a:ext>
                </a:extLst>
              </p:cNvPr>
              <p:cNvSpPr txBox="1"/>
              <p:nvPr/>
            </p:nvSpPr>
            <p:spPr>
              <a:xfrm rot="20144588" flipH="1">
                <a:off x="8321024" y="5224780"/>
                <a:ext cx="1489510" cy="553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Detachering op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Infrastructuur &amp;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Software Development</a:t>
                </a:r>
              </a:p>
            </p:txBody>
          </p:sp>
          <p:sp>
            <p:nvSpPr>
              <p:cNvPr id="93" name="Tekstvak 92">
                <a:extLst>
                  <a:ext uri="{FF2B5EF4-FFF2-40B4-BE49-F238E27FC236}">
                    <a16:creationId xmlns:a16="http://schemas.microsoft.com/office/drawing/2014/main" id="{5B930817-CE0B-2490-C314-3B15A6346F36}"/>
                  </a:ext>
                </a:extLst>
              </p:cNvPr>
              <p:cNvSpPr txBox="1"/>
              <p:nvPr/>
            </p:nvSpPr>
            <p:spPr>
              <a:xfrm rot="1455412">
                <a:off x="6473990" y="5293138"/>
                <a:ext cx="1530680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BproCare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:</a:t>
                </a:r>
                <a:b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</a:b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Product Development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F8A1"/>
                    </a:solidFill>
                    <a:effectLst/>
                    <a:uLnTx/>
                    <a:uFillTx/>
                    <a:latin typeface="Archivo" pitchFamily="2" charset="77"/>
                    <a:ea typeface="+mn-ea"/>
                    <a:cs typeface="Archivo" pitchFamily="2" charset="77"/>
                  </a:rPr>
                  <a:t>&amp; Innovatie</a:t>
                </a:r>
              </a:p>
            </p:txBody>
          </p:sp>
        </p:grpSp>
      </p:grpSp>
      <p:pic>
        <p:nvPicPr>
          <p:cNvPr id="25" name="Afbeelding 24" descr="Afbeelding met overdekt, muur, persoon, meubels&#10;&#10;Automatisch gegenereerde beschrijving">
            <a:extLst>
              <a:ext uri="{FF2B5EF4-FFF2-40B4-BE49-F238E27FC236}">
                <a16:creationId xmlns:a16="http://schemas.microsoft.com/office/drawing/2014/main" id="{10EDB442-6C35-2CD5-F1C7-EA5ECA3FA5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44521" y="2511737"/>
            <a:ext cx="1921258" cy="1766157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7270B9C3-53CD-7210-DFDB-1C7D4D88F7F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43" t="-1171" r="-647"/>
          <a:stretch/>
        </p:blipFill>
        <p:spPr>
          <a:xfrm>
            <a:off x="6096000" y="1446968"/>
            <a:ext cx="3991600" cy="396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207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88BD75FE-AC0E-C90D-EFA9-D815F70B6C17}"/>
              </a:ext>
            </a:extLst>
          </p:cNvPr>
          <p:cNvSpPr/>
          <p:nvPr/>
        </p:nvSpPr>
        <p:spPr>
          <a:xfrm>
            <a:off x="0" y="0"/>
            <a:ext cx="12192000" cy="6345215"/>
          </a:xfrm>
          <a:prstGeom prst="rect">
            <a:avLst/>
          </a:prstGeom>
          <a:solidFill>
            <a:srgbClr val="171A6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C5C9B3AF-FD94-FE4C-333A-CECE4AC41C70}"/>
              </a:ext>
            </a:extLst>
          </p:cNvPr>
          <p:cNvSpPr/>
          <p:nvPr/>
        </p:nvSpPr>
        <p:spPr>
          <a:xfrm>
            <a:off x="339612" y="391465"/>
            <a:ext cx="1146274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442" y="728334"/>
            <a:ext cx="11055671" cy="646331"/>
          </a:xfrm>
        </p:spPr>
        <p:txBody>
          <a:bodyPr/>
          <a:lstStyle/>
          <a:p>
            <a:r>
              <a:rPr lang="nl-NL" dirty="0"/>
              <a:t>En dit doen we o.a. samen met:</a:t>
            </a:r>
          </a:p>
        </p:txBody>
      </p:sp>
      <p:sp>
        <p:nvSpPr>
          <p:cNvPr id="100" name="Rounded Rectangle 35">
            <a:extLst>
              <a:ext uri="{FF2B5EF4-FFF2-40B4-BE49-F238E27FC236}">
                <a16:creationId xmlns:a16="http://schemas.microsoft.com/office/drawing/2014/main" id="{B8616895-A933-B585-65EC-78ED6A839E10}"/>
              </a:ext>
            </a:extLst>
          </p:cNvPr>
          <p:cNvSpPr/>
          <p:nvPr/>
        </p:nvSpPr>
        <p:spPr>
          <a:xfrm>
            <a:off x="3862947" y="165020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Rounded Rectangle 35">
            <a:extLst>
              <a:ext uri="{FF2B5EF4-FFF2-40B4-BE49-F238E27FC236}">
                <a16:creationId xmlns:a16="http://schemas.microsoft.com/office/drawing/2014/main" id="{CBD72264-03C1-0E1D-307B-B3E547A604F4}"/>
              </a:ext>
            </a:extLst>
          </p:cNvPr>
          <p:cNvSpPr/>
          <p:nvPr/>
        </p:nvSpPr>
        <p:spPr>
          <a:xfrm>
            <a:off x="3860993" y="280234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Rounded Rectangle 35">
            <a:extLst>
              <a:ext uri="{FF2B5EF4-FFF2-40B4-BE49-F238E27FC236}">
                <a16:creationId xmlns:a16="http://schemas.microsoft.com/office/drawing/2014/main" id="{9C895AD6-C1A7-9075-FE27-515B87019919}"/>
              </a:ext>
            </a:extLst>
          </p:cNvPr>
          <p:cNvSpPr/>
          <p:nvPr/>
        </p:nvSpPr>
        <p:spPr>
          <a:xfrm>
            <a:off x="3860993" y="3954491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3" name="Rounded Rectangle 35">
            <a:extLst>
              <a:ext uri="{FF2B5EF4-FFF2-40B4-BE49-F238E27FC236}">
                <a16:creationId xmlns:a16="http://schemas.microsoft.com/office/drawing/2014/main" id="{BD97A3BC-2DDA-B887-4EC5-DC333EEA4B62}"/>
              </a:ext>
            </a:extLst>
          </p:cNvPr>
          <p:cNvSpPr/>
          <p:nvPr/>
        </p:nvSpPr>
        <p:spPr>
          <a:xfrm>
            <a:off x="3860993" y="5106634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Rounded Rectangle 35">
            <a:extLst>
              <a:ext uri="{FF2B5EF4-FFF2-40B4-BE49-F238E27FC236}">
                <a16:creationId xmlns:a16="http://schemas.microsoft.com/office/drawing/2014/main" id="{DCA0FC34-6079-BFBC-9DAA-AA9B94B9D9EC}"/>
              </a:ext>
            </a:extLst>
          </p:cNvPr>
          <p:cNvSpPr/>
          <p:nvPr/>
        </p:nvSpPr>
        <p:spPr>
          <a:xfrm>
            <a:off x="6205361" y="165020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ounded Rectangle 35">
            <a:extLst>
              <a:ext uri="{FF2B5EF4-FFF2-40B4-BE49-F238E27FC236}">
                <a16:creationId xmlns:a16="http://schemas.microsoft.com/office/drawing/2014/main" id="{0E967300-D312-94B5-8B66-9F6AC3C0D802}"/>
              </a:ext>
            </a:extLst>
          </p:cNvPr>
          <p:cNvSpPr/>
          <p:nvPr/>
        </p:nvSpPr>
        <p:spPr>
          <a:xfrm>
            <a:off x="6205361" y="280234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Rounded Rectangle 35">
            <a:extLst>
              <a:ext uri="{FF2B5EF4-FFF2-40B4-BE49-F238E27FC236}">
                <a16:creationId xmlns:a16="http://schemas.microsoft.com/office/drawing/2014/main" id="{8FA910F4-F7D3-8A5A-8D96-D0F1DF5327DA}"/>
              </a:ext>
            </a:extLst>
          </p:cNvPr>
          <p:cNvSpPr/>
          <p:nvPr/>
        </p:nvSpPr>
        <p:spPr>
          <a:xfrm>
            <a:off x="6205361" y="3954491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5" name="Rounded Rectangle 35">
            <a:extLst>
              <a:ext uri="{FF2B5EF4-FFF2-40B4-BE49-F238E27FC236}">
                <a16:creationId xmlns:a16="http://schemas.microsoft.com/office/drawing/2014/main" id="{A5EFC0A8-C0FD-650F-E391-5BF6F24F3439}"/>
              </a:ext>
            </a:extLst>
          </p:cNvPr>
          <p:cNvSpPr/>
          <p:nvPr/>
        </p:nvSpPr>
        <p:spPr>
          <a:xfrm>
            <a:off x="6205361" y="5106634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Rounded Rectangle 35">
            <a:extLst>
              <a:ext uri="{FF2B5EF4-FFF2-40B4-BE49-F238E27FC236}">
                <a16:creationId xmlns:a16="http://schemas.microsoft.com/office/drawing/2014/main" id="{1FF32325-9902-BB8B-4DE5-0A2F65A38547}"/>
              </a:ext>
            </a:extLst>
          </p:cNvPr>
          <p:cNvSpPr/>
          <p:nvPr/>
        </p:nvSpPr>
        <p:spPr>
          <a:xfrm>
            <a:off x="1518579" y="3954490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Rounded Rectangle 35">
            <a:extLst>
              <a:ext uri="{FF2B5EF4-FFF2-40B4-BE49-F238E27FC236}">
                <a16:creationId xmlns:a16="http://schemas.microsoft.com/office/drawing/2014/main" id="{3EEE6E38-5E06-A9A4-A2B8-2B2B20F14FA9}"/>
              </a:ext>
            </a:extLst>
          </p:cNvPr>
          <p:cNvSpPr/>
          <p:nvPr/>
        </p:nvSpPr>
        <p:spPr>
          <a:xfrm>
            <a:off x="1518579" y="5106634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Rounded Rectangle 35">
            <a:extLst>
              <a:ext uri="{FF2B5EF4-FFF2-40B4-BE49-F238E27FC236}">
                <a16:creationId xmlns:a16="http://schemas.microsoft.com/office/drawing/2014/main" id="{022BC4AA-27D3-D91F-2FA6-5764032433DA}"/>
              </a:ext>
            </a:extLst>
          </p:cNvPr>
          <p:cNvSpPr/>
          <p:nvPr/>
        </p:nvSpPr>
        <p:spPr>
          <a:xfrm>
            <a:off x="1518578" y="165020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Rounded Rectangle 35">
            <a:extLst>
              <a:ext uri="{FF2B5EF4-FFF2-40B4-BE49-F238E27FC236}">
                <a16:creationId xmlns:a16="http://schemas.microsoft.com/office/drawing/2014/main" id="{84F94273-374B-4F71-F4C8-580C29D2B382}"/>
              </a:ext>
            </a:extLst>
          </p:cNvPr>
          <p:cNvSpPr/>
          <p:nvPr/>
        </p:nvSpPr>
        <p:spPr>
          <a:xfrm>
            <a:off x="1516625" y="280234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" name="Rounded Rectangle 35">
            <a:extLst>
              <a:ext uri="{FF2B5EF4-FFF2-40B4-BE49-F238E27FC236}">
                <a16:creationId xmlns:a16="http://schemas.microsoft.com/office/drawing/2014/main" id="{8053A666-6130-EB55-C3BC-3EAA82BD81BF}"/>
              </a:ext>
            </a:extLst>
          </p:cNvPr>
          <p:cNvSpPr/>
          <p:nvPr/>
        </p:nvSpPr>
        <p:spPr>
          <a:xfrm>
            <a:off x="8547775" y="5106634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Rounded Rectangle 35">
            <a:extLst>
              <a:ext uri="{FF2B5EF4-FFF2-40B4-BE49-F238E27FC236}">
                <a16:creationId xmlns:a16="http://schemas.microsoft.com/office/drawing/2014/main" id="{E5DD21EA-D8C4-A66E-98CE-D17BEC52EEE4}"/>
              </a:ext>
            </a:extLst>
          </p:cNvPr>
          <p:cNvSpPr/>
          <p:nvPr/>
        </p:nvSpPr>
        <p:spPr>
          <a:xfrm>
            <a:off x="8547775" y="1650203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Rounded Rectangle 35">
            <a:extLst>
              <a:ext uri="{FF2B5EF4-FFF2-40B4-BE49-F238E27FC236}">
                <a16:creationId xmlns:a16="http://schemas.microsoft.com/office/drawing/2014/main" id="{C7AE35C0-6EF0-A51C-BBF7-DAFA8D648535}"/>
              </a:ext>
            </a:extLst>
          </p:cNvPr>
          <p:cNvSpPr/>
          <p:nvPr/>
        </p:nvSpPr>
        <p:spPr>
          <a:xfrm>
            <a:off x="8547775" y="2802347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Rounded Rectangle 35">
            <a:extLst>
              <a:ext uri="{FF2B5EF4-FFF2-40B4-BE49-F238E27FC236}">
                <a16:creationId xmlns:a16="http://schemas.microsoft.com/office/drawing/2014/main" id="{753A1E3A-EBDF-CCD2-6A9B-7CE83BBE07E9}"/>
              </a:ext>
            </a:extLst>
          </p:cNvPr>
          <p:cNvSpPr/>
          <p:nvPr/>
        </p:nvSpPr>
        <p:spPr>
          <a:xfrm>
            <a:off x="8547775" y="3954491"/>
            <a:ext cx="2127601" cy="1008000"/>
          </a:xfrm>
          <a:prstGeom prst="roundRect">
            <a:avLst>
              <a:gd name="adj" fmla="val 333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8" name="Picture 34">
            <a:extLst>
              <a:ext uri="{FF2B5EF4-FFF2-40B4-BE49-F238E27FC236}">
                <a16:creationId xmlns:a16="http://schemas.microsoft.com/office/drawing/2014/main" id="{E0D160A5-BCD6-8956-BEA5-E97FCC1AD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3367" y="1998101"/>
            <a:ext cx="1314116" cy="296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9" name="Afbeelding 108">
            <a:extLst>
              <a:ext uri="{FF2B5EF4-FFF2-40B4-BE49-F238E27FC236}">
                <a16:creationId xmlns:a16="http://schemas.microsoft.com/office/drawing/2014/main" id="{6BFDB4F7-DE6F-F052-BCBC-FA8AA749AD6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1611" y="2024020"/>
            <a:ext cx="1275100" cy="260365"/>
          </a:xfrm>
          <a:prstGeom prst="rect">
            <a:avLst/>
          </a:prstGeom>
        </p:spPr>
      </p:pic>
      <p:pic>
        <p:nvPicPr>
          <p:cNvPr id="110" name="Afbeelding 109">
            <a:extLst>
              <a:ext uri="{FF2B5EF4-FFF2-40B4-BE49-F238E27FC236}">
                <a16:creationId xmlns:a16="http://schemas.microsoft.com/office/drawing/2014/main" id="{E758166E-AF89-52F7-61C2-940D61D7CB7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9632" y="1914471"/>
            <a:ext cx="491001" cy="463417"/>
          </a:xfrm>
          <a:prstGeom prst="rect">
            <a:avLst/>
          </a:prstGeom>
        </p:spPr>
      </p:pic>
      <p:pic>
        <p:nvPicPr>
          <p:cNvPr id="111" name="Picture 2">
            <a:extLst>
              <a:ext uri="{FF2B5EF4-FFF2-40B4-BE49-F238E27FC236}">
                <a16:creationId xmlns:a16="http://schemas.microsoft.com/office/drawing/2014/main" id="{701B5983-0955-07C2-E871-E18481958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11309" y="4303876"/>
            <a:ext cx="1444583" cy="248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2">
            <a:extLst>
              <a:ext uri="{FF2B5EF4-FFF2-40B4-BE49-F238E27FC236}">
                <a16:creationId xmlns:a16="http://schemas.microsoft.com/office/drawing/2014/main" id="{799B1F8B-4B5A-F900-7381-A1E6AC6AE3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2224" y="3139419"/>
            <a:ext cx="1228543" cy="333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Picture 6" descr="Odido: beeldmerk en woordmerk in één of geen van beide? - Marketingfacts">
            <a:extLst>
              <a:ext uri="{FF2B5EF4-FFF2-40B4-BE49-F238E27FC236}">
                <a16:creationId xmlns:a16="http://schemas.microsoft.com/office/drawing/2014/main" id="{0BB1EE20-856B-24B9-ACD1-8049F911A1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4983" y="4104540"/>
            <a:ext cx="1415797" cy="707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8" descr="Vodafone - Footprint Challenge">
            <a:extLst>
              <a:ext uri="{FF2B5EF4-FFF2-40B4-BE49-F238E27FC236}">
                <a16:creationId xmlns:a16="http://schemas.microsoft.com/office/drawing/2014/main" id="{99D33B72-19E0-40D6-36EE-266FA68CC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95472" y="3079140"/>
            <a:ext cx="1634820" cy="434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Afbeelding 114">
            <a:extLst>
              <a:ext uri="{FF2B5EF4-FFF2-40B4-BE49-F238E27FC236}">
                <a16:creationId xmlns:a16="http://schemas.microsoft.com/office/drawing/2014/main" id="{658EA55F-E90F-F17A-981F-DDF8F06C40C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57" b="6818"/>
          <a:stretch/>
        </p:blipFill>
        <p:spPr>
          <a:xfrm>
            <a:off x="2103511" y="5239869"/>
            <a:ext cx="888189" cy="761399"/>
          </a:xfrm>
          <a:prstGeom prst="rect">
            <a:avLst/>
          </a:prstGeom>
          <a:ln>
            <a:noFill/>
          </a:ln>
        </p:spPr>
      </p:pic>
      <p:pic>
        <p:nvPicPr>
          <p:cNvPr id="116" name="Picture 4" descr="Vendor independent software platform - IQ Messenger">
            <a:extLst>
              <a:ext uri="{FF2B5EF4-FFF2-40B4-BE49-F238E27FC236}">
                <a16:creationId xmlns:a16="http://schemas.microsoft.com/office/drawing/2014/main" id="{0737D200-93F5-EC3E-9D88-31F8FDEEBA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65077" y="3079140"/>
            <a:ext cx="1539601" cy="387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Afbeelding 116">
            <a:extLst>
              <a:ext uri="{FF2B5EF4-FFF2-40B4-BE49-F238E27FC236}">
                <a16:creationId xmlns:a16="http://schemas.microsoft.com/office/drawing/2014/main" id="{E47A7417-CE77-3907-B049-0709A29FD036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00193" y="5393670"/>
            <a:ext cx="1669880" cy="463710"/>
          </a:xfrm>
          <a:prstGeom prst="rect">
            <a:avLst/>
          </a:prstGeom>
          <a:ln>
            <a:noFill/>
          </a:ln>
        </p:spPr>
      </p:pic>
      <p:pic>
        <p:nvPicPr>
          <p:cNvPr id="118" name="Afbeelding 117">
            <a:extLst>
              <a:ext uri="{FF2B5EF4-FFF2-40B4-BE49-F238E27FC236}">
                <a16:creationId xmlns:a16="http://schemas.microsoft.com/office/drawing/2014/main" id="{AFB09425-AB43-A677-8C4B-21F6302274E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992" y="5292163"/>
            <a:ext cx="787400" cy="641350"/>
          </a:xfrm>
          <a:prstGeom prst="rect">
            <a:avLst/>
          </a:prstGeom>
          <a:ln>
            <a:noFill/>
          </a:ln>
        </p:spPr>
      </p:pic>
      <p:pic>
        <p:nvPicPr>
          <p:cNvPr id="119" name="Afbeelding 118">
            <a:extLst>
              <a:ext uri="{FF2B5EF4-FFF2-40B4-BE49-F238E27FC236}">
                <a16:creationId xmlns:a16="http://schemas.microsoft.com/office/drawing/2014/main" id="{31BA9617-B1F0-2EE2-A8F4-A71921343997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4223" y="3059939"/>
            <a:ext cx="1483755" cy="425958"/>
          </a:xfrm>
          <a:prstGeom prst="rect">
            <a:avLst/>
          </a:prstGeom>
          <a:ln>
            <a:noFill/>
          </a:ln>
        </p:spPr>
      </p:pic>
      <p:pic>
        <p:nvPicPr>
          <p:cNvPr id="120" name="Afbeelding 119">
            <a:extLst>
              <a:ext uri="{FF2B5EF4-FFF2-40B4-BE49-F238E27FC236}">
                <a16:creationId xmlns:a16="http://schemas.microsoft.com/office/drawing/2014/main" id="{8B9874C8-0A57-75BD-DE51-E78EE985F45E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789" b="25802"/>
          <a:stretch/>
        </p:blipFill>
        <p:spPr>
          <a:xfrm>
            <a:off x="6584992" y="4157239"/>
            <a:ext cx="1295400" cy="541430"/>
          </a:xfrm>
          <a:prstGeom prst="rect">
            <a:avLst/>
          </a:prstGeom>
          <a:ln>
            <a:noFill/>
          </a:ln>
        </p:spPr>
      </p:pic>
      <p:pic>
        <p:nvPicPr>
          <p:cNvPr id="121" name="Afbeelding 120">
            <a:extLst>
              <a:ext uri="{FF2B5EF4-FFF2-40B4-BE49-F238E27FC236}">
                <a16:creationId xmlns:a16="http://schemas.microsoft.com/office/drawing/2014/main" id="{9E8E9EEC-46E8-D86C-21C5-55DC2AEC148D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11" r="12500" b="13333"/>
          <a:stretch/>
        </p:blipFill>
        <p:spPr>
          <a:xfrm>
            <a:off x="9235287" y="1799901"/>
            <a:ext cx="752575" cy="692558"/>
          </a:xfrm>
          <a:prstGeom prst="rect">
            <a:avLst/>
          </a:prstGeom>
          <a:ln>
            <a:noFill/>
          </a:ln>
        </p:spPr>
      </p:pic>
      <p:pic>
        <p:nvPicPr>
          <p:cNvPr id="122" name="Picture 7" descr="EXTRA ROAMINGLIMIETEN bij KPN MKB Mobiele telefonie — 2BE IT | 2BE IT">
            <a:extLst>
              <a:ext uri="{FF2B5EF4-FFF2-40B4-BE49-F238E27FC236}">
                <a16:creationId xmlns:a16="http://schemas.microsoft.com/office/drawing/2014/main" id="{44046CE6-82C7-359F-BDB9-9D0DE5BA708C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2668" y="5106633"/>
            <a:ext cx="1147863" cy="1034983"/>
          </a:xfrm>
          <a:prstGeom prst="rect">
            <a:avLst/>
          </a:prstGeom>
        </p:spPr>
      </p:pic>
      <p:pic>
        <p:nvPicPr>
          <p:cNvPr id="123" name="Picture 8" descr="A black and orange logo&#10;&#10;Description automatically generated">
            <a:extLst>
              <a:ext uri="{FF2B5EF4-FFF2-40B4-BE49-F238E27FC236}">
                <a16:creationId xmlns:a16="http://schemas.microsoft.com/office/drawing/2014/main" id="{490541CE-A97F-3306-E43A-3FB4FA54E2AA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5374" y="4237454"/>
            <a:ext cx="1657350" cy="381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167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A14B34-27A3-C80B-78A8-064DFEEE5D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443" y="1091800"/>
            <a:ext cx="3938035" cy="1200329"/>
          </a:xfrm>
        </p:spPr>
        <p:txBody>
          <a:bodyPr/>
          <a:lstStyle/>
          <a:p>
            <a:r>
              <a:rPr lang="nl-NL"/>
              <a:t>Kengetallen </a:t>
            </a:r>
            <a:br>
              <a:rPr lang="nl-NL"/>
            </a:br>
            <a:r>
              <a:rPr lang="nl-NL"/>
              <a:t>&amp; Wapenfeiten</a:t>
            </a:r>
            <a:endParaRPr lang="en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A81489-B96E-189C-5908-230534B5F3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01574" y="1375995"/>
            <a:ext cx="2167947" cy="830997"/>
          </a:xfrm>
        </p:spPr>
        <p:txBody>
          <a:bodyPr/>
          <a:lstStyle/>
          <a:p>
            <a:r>
              <a:rPr lang="nl-NL" b="1" dirty="0"/>
              <a:t>9</a:t>
            </a:r>
            <a:endParaRPr lang="en-NL" b="1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EC0ED00-B787-EC41-F4BE-5645716877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05482" y="2502869"/>
            <a:ext cx="1898073" cy="646331"/>
          </a:xfrm>
        </p:spPr>
        <p:txBody>
          <a:bodyPr/>
          <a:lstStyle/>
          <a:p>
            <a:r>
              <a:rPr lang="en-GB" err="1"/>
              <a:t>Landelijke</a:t>
            </a:r>
            <a:r>
              <a:rPr lang="en-GB"/>
              <a:t> </a:t>
            </a:r>
            <a:r>
              <a:rPr lang="en-GB" err="1"/>
              <a:t>dekking</a:t>
            </a:r>
            <a:r>
              <a:rPr lang="en-GB"/>
              <a:t> </a:t>
            </a:r>
            <a:br>
              <a:rPr lang="en-GB"/>
            </a:br>
            <a:r>
              <a:rPr lang="en-GB"/>
              <a:t>met 9 </a:t>
            </a:r>
            <a:r>
              <a:rPr lang="en-GB" err="1"/>
              <a:t>vestigingen</a:t>
            </a:r>
            <a:r>
              <a:rPr lang="en-GB"/>
              <a:t> </a:t>
            </a:r>
            <a:br>
              <a:rPr lang="en-GB"/>
            </a:br>
            <a:r>
              <a:rPr lang="en-GB"/>
              <a:t>door Nederlan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5984DB8-AB77-080B-F7CB-9BF04CB12A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7344" y="1334672"/>
            <a:ext cx="2167947" cy="830997"/>
          </a:xfrm>
        </p:spPr>
        <p:txBody>
          <a:bodyPr/>
          <a:lstStyle/>
          <a:p>
            <a:r>
              <a:rPr lang="nl-NL" b="1" dirty="0"/>
              <a:t>700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935845F-D1FD-44EE-EAC4-286E76E088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1252" y="2502870"/>
            <a:ext cx="1898073" cy="461665"/>
          </a:xfrm>
        </p:spPr>
        <p:txBody>
          <a:bodyPr/>
          <a:lstStyle/>
          <a:p>
            <a:r>
              <a:rPr lang="en-GB" err="1"/>
              <a:t>Solide</a:t>
            </a:r>
            <a:r>
              <a:rPr lang="en-GB"/>
              <a:t> </a:t>
            </a:r>
            <a:r>
              <a:rPr lang="en-GB" err="1"/>
              <a:t>kennishuis</a:t>
            </a:r>
            <a:r>
              <a:rPr lang="en-GB"/>
              <a:t> met 700 professionals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51C58F0-B789-F22E-2926-475E4ABE7C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90849" y="4276074"/>
            <a:ext cx="2167947" cy="830997"/>
          </a:xfrm>
        </p:spPr>
        <p:txBody>
          <a:bodyPr/>
          <a:lstStyle/>
          <a:p>
            <a:r>
              <a:rPr lang="nl-NL"/>
              <a:t> </a:t>
            </a:r>
            <a:endParaRPr lang="en-NL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6248AB-D4FB-2CA5-5B48-BDAC0F9BDDC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05482" y="4963763"/>
            <a:ext cx="1891146" cy="461665"/>
          </a:xfrm>
        </p:spPr>
        <p:txBody>
          <a:bodyPr/>
          <a:lstStyle/>
          <a:p>
            <a:r>
              <a:rPr lang="nl-NL" dirty="0"/>
              <a:t>Expertise: alle relevante certificeringen zijn in huis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CC4567-CE7E-5184-B468-6B6665777FB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99703" y="3964950"/>
            <a:ext cx="2167947" cy="830997"/>
          </a:xfrm>
        </p:spPr>
        <p:txBody>
          <a:bodyPr/>
          <a:lstStyle/>
          <a:p>
            <a:r>
              <a:rPr lang="nl-NL" b="1" dirty="0"/>
              <a:t>€135m </a:t>
            </a:r>
            <a:endParaRPr lang="en-NL" b="1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2AEB68E-9598-47F3-9061-BD65AC48E3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03611" y="4963764"/>
            <a:ext cx="1898073" cy="646331"/>
          </a:xfrm>
        </p:spPr>
        <p:txBody>
          <a:bodyPr/>
          <a:lstStyle/>
          <a:p>
            <a:r>
              <a:rPr lang="en-GB" dirty="0" err="1"/>
              <a:t>Financieel</a:t>
            </a:r>
            <a:r>
              <a:rPr lang="en-GB" dirty="0"/>
              <a:t> </a:t>
            </a:r>
            <a:r>
              <a:rPr lang="en-GB" dirty="0" err="1"/>
              <a:t>stabiel</a:t>
            </a:r>
            <a:r>
              <a:rPr lang="en-GB" dirty="0"/>
              <a:t> met </a:t>
            </a:r>
            <a:r>
              <a:rPr lang="en-GB" dirty="0" err="1"/>
              <a:t>een</a:t>
            </a:r>
            <a:r>
              <a:rPr lang="en-GB" dirty="0"/>
              <a:t> </a:t>
            </a:r>
            <a:r>
              <a:rPr lang="en-GB" dirty="0" err="1"/>
              <a:t>totale</a:t>
            </a:r>
            <a:r>
              <a:rPr lang="en-GB" dirty="0"/>
              <a:t> </a:t>
            </a:r>
            <a:r>
              <a:rPr lang="en-GB" dirty="0" err="1"/>
              <a:t>omzet</a:t>
            </a:r>
            <a:r>
              <a:rPr lang="en-GB" dirty="0"/>
              <a:t> van </a:t>
            </a:r>
            <a:br>
              <a:rPr lang="en-GB" dirty="0"/>
            </a:br>
            <a:r>
              <a:rPr lang="en-GB" dirty="0"/>
              <a:t>135 </a:t>
            </a:r>
            <a:r>
              <a:rPr lang="en-GB" dirty="0" err="1"/>
              <a:t>miljoen</a:t>
            </a:r>
            <a:r>
              <a:rPr lang="en-GB" dirty="0"/>
              <a:t>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60D4352-8DF6-F9FA-8492-6AEEF9572B8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00295" y="1519017"/>
            <a:ext cx="2167947" cy="830997"/>
          </a:xfrm>
        </p:spPr>
        <p:txBody>
          <a:bodyPr/>
          <a:lstStyle/>
          <a:p>
            <a:r>
              <a:rPr lang="nl-NL"/>
              <a:t> </a:t>
            </a:r>
            <a:endParaRPr lang="en-NL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567A6DE-5B41-33ED-6121-423ACD7A326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504203" y="2495943"/>
            <a:ext cx="1898073" cy="830997"/>
          </a:xfrm>
        </p:spPr>
        <p:txBody>
          <a:bodyPr/>
          <a:lstStyle/>
          <a:p>
            <a:r>
              <a:rPr lang="en-GB"/>
              <a:t>Hoge </a:t>
            </a:r>
            <a:r>
              <a:rPr lang="en-GB" err="1"/>
              <a:t>klanttevredenheid</a:t>
            </a:r>
            <a:r>
              <a:rPr lang="en-GB"/>
              <a:t> </a:t>
            </a:r>
            <a:r>
              <a:rPr lang="en-GB" err="1"/>
              <a:t>dankzij</a:t>
            </a:r>
            <a:r>
              <a:rPr lang="en-GB"/>
              <a:t> de </a:t>
            </a:r>
            <a:r>
              <a:rPr lang="en-GB" err="1"/>
              <a:t>inzet</a:t>
            </a:r>
            <a:r>
              <a:rPr lang="en-GB"/>
              <a:t> van </a:t>
            </a:r>
            <a:r>
              <a:rPr lang="en-GB" err="1"/>
              <a:t>onze</a:t>
            </a:r>
            <a:r>
              <a:rPr lang="en-GB"/>
              <a:t> </a:t>
            </a:r>
            <a:r>
              <a:rPr lang="en-GB" err="1"/>
              <a:t>gepassioneerde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goed</a:t>
            </a:r>
            <a:r>
              <a:rPr lang="en-GB"/>
              <a:t> </a:t>
            </a:r>
            <a:r>
              <a:rPr lang="en-GB" err="1"/>
              <a:t>opgeleide</a:t>
            </a:r>
            <a:r>
              <a:rPr lang="en-GB"/>
              <a:t> </a:t>
            </a:r>
            <a:r>
              <a:rPr lang="en-GB" err="1"/>
              <a:t>medewerkers</a:t>
            </a:r>
            <a:r>
              <a:rPr lang="en-GB"/>
              <a:t>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6013298-5BEE-3774-2735-C1B3C05C605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407222" y="3964949"/>
            <a:ext cx="2167947" cy="830997"/>
          </a:xfrm>
        </p:spPr>
        <p:txBody>
          <a:bodyPr/>
          <a:lstStyle/>
          <a:p>
            <a:r>
              <a:rPr lang="nl-NL" b="1" dirty="0"/>
              <a:t>&gt; 350k</a:t>
            </a:r>
            <a:endParaRPr lang="en-NL" b="1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C48E441-CB1F-8087-9EEA-E9F75E5AD84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511130" y="4956837"/>
            <a:ext cx="1898073" cy="461665"/>
          </a:xfrm>
        </p:spPr>
        <p:txBody>
          <a:bodyPr/>
          <a:lstStyle/>
          <a:p>
            <a:r>
              <a:rPr lang="en-GB" dirty="0"/>
              <a:t>IT </a:t>
            </a:r>
            <a:r>
              <a:rPr lang="en-GB" dirty="0" err="1"/>
              <a:t>en</a:t>
            </a:r>
            <a:r>
              <a:rPr lang="en-GB" dirty="0"/>
              <a:t> UC </a:t>
            </a:r>
            <a:r>
              <a:rPr lang="en-GB" dirty="0" err="1"/>
              <a:t>werkplekken</a:t>
            </a:r>
            <a:r>
              <a:rPr lang="en-GB" dirty="0"/>
              <a:t> </a:t>
            </a:r>
            <a:r>
              <a:rPr lang="en-GB" dirty="0" err="1"/>
              <a:t>gebouwd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in </a:t>
            </a:r>
            <a:r>
              <a:rPr lang="en-GB" dirty="0" err="1"/>
              <a:t>beheer</a:t>
            </a:r>
            <a:r>
              <a:rPr lang="en-GB" dirty="0"/>
              <a:t>.</a:t>
            </a:r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7176A2A4-0D7B-FF7A-FD60-83F8EA8EA7A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256418" y="4963764"/>
            <a:ext cx="2036599" cy="830997"/>
          </a:xfrm>
        </p:spPr>
        <p:txBody>
          <a:bodyPr/>
          <a:lstStyle/>
          <a:p>
            <a:r>
              <a:rPr lang="nl-NL"/>
              <a:t>Maatschappelijk betrokken voor een positieve impact op milieu en samenleving. (ESG beleid)</a:t>
            </a:r>
            <a:endParaRPr lang="en-NL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44D0B667-4F8C-8F73-9B2F-64B2AC8440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95711" y="1311578"/>
            <a:ext cx="1200329" cy="1200329"/>
          </a:xfrm>
          <a:prstGeom prst="rect">
            <a:avLst/>
          </a:prstGeom>
        </p:spPr>
      </p:pic>
      <p:pic>
        <p:nvPicPr>
          <p:cNvPr id="30" name="Graphic 29" descr="Opgerold diploma met effen opvulling">
            <a:extLst>
              <a:ext uri="{FF2B5EF4-FFF2-40B4-BE49-F238E27FC236}">
                <a16:creationId xmlns:a16="http://schemas.microsoft.com/office/drawing/2014/main" id="{E022FCBC-0F26-6693-FD57-7B1D5C98EE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68253" y="3707548"/>
            <a:ext cx="1345803" cy="1345803"/>
          </a:xfrm>
          <a:prstGeom prst="rect">
            <a:avLst/>
          </a:prstGeom>
        </p:spPr>
      </p:pic>
      <p:sp>
        <p:nvSpPr>
          <p:cNvPr id="37" name="Tekstvak 36">
            <a:extLst>
              <a:ext uri="{FF2B5EF4-FFF2-40B4-BE49-F238E27FC236}">
                <a16:creationId xmlns:a16="http://schemas.microsoft.com/office/drawing/2014/main" id="{6980C467-C452-A479-9E82-3D9EBC759479}"/>
              </a:ext>
            </a:extLst>
          </p:cNvPr>
          <p:cNvSpPr txBox="1"/>
          <p:nvPr/>
        </p:nvSpPr>
        <p:spPr>
          <a:xfrm>
            <a:off x="4641981" y="1860106"/>
            <a:ext cx="21987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professionals</a:t>
            </a:r>
            <a:endParaRPr kumimoji="0" lang="en-NL" sz="2800" b="0" i="0" u="none" strike="noStrike" kern="1200" cap="none" spc="0" normalizeH="0" baseline="0" noProof="0">
              <a:ln>
                <a:noFill/>
              </a:ln>
              <a:solidFill>
                <a:srgbClr val="186117"/>
              </a:solidFill>
              <a:effectLst/>
              <a:uLnTx/>
              <a:uFillTx/>
              <a:latin typeface="Caveat" pitchFamily="2" charset="0"/>
              <a:ea typeface="+mn-ea"/>
              <a:cs typeface="+mn-cs"/>
            </a:endParaRPr>
          </a:p>
        </p:txBody>
      </p:sp>
      <p:sp>
        <p:nvSpPr>
          <p:cNvPr id="38" name="Tekstvak 37">
            <a:extLst>
              <a:ext uri="{FF2B5EF4-FFF2-40B4-BE49-F238E27FC236}">
                <a16:creationId xmlns:a16="http://schemas.microsoft.com/office/drawing/2014/main" id="{211FD6D4-3800-B386-EE06-C6002169A60C}"/>
              </a:ext>
            </a:extLst>
          </p:cNvPr>
          <p:cNvSpPr txBox="1"/>
          <p:nvPr/>
        </p:nvSpPr>
        <p:spPr>
          <a:xfrm>
            <a:off x="7096990" y="1901430"/>
            <a:ext cx="162988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vestigingen</a:t>
            </a:r>
            <a:endParaRPr kumimoji="0" lang="en-NL" sz="2800" b="0" i="0" u="none" strike="noStrike" kern="1200" cap="none" spc="0" normalizeH="0" baseline="0" noProof="0">
              <a:ln>
                <a:noFill/>
              </a:ln>
              <a:solidFill>
                <a:srgbClr val="FF8200"/>
              </a:solidFill>
              <a:effectLst/>
              <a:uLnTx/>
              <a:uFillTx/>
              <a:latin typeface="Caveat" pitchFamily="2" charset="0"/>
              <a:ea typeface="+mn-ea"/>
              <a:cs typeface="+mn-cs"/>
            </a:endParaRP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0646F0E9-97B6-1BA7-C98C-5ED48C6AB1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56418" y="3707548"/>
            <a:ext cx="1137051" cy="1137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96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2EE71B9-AB36-8C65-C322-EB5418A958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5605" y="1144740"/>
            <a:ext cx="5296545" cy="867930"/>
          </a:xfrm>
        </p:spPr>
        <p:txBody>
          <a:bodyPr/>
          <a:lstStyle/>
          <a:p>
            <a:r>
              <a:rPr lang="nl-NL"/>
              <a:t>Contac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DE0DD3-64BB-5386-6856-3F13E70063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293" y="5708171"/>
            <a:ext cx="2512623" cy="8763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9961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C45E5F99-EADA-9E94-8419-A03FE12603DC}"/>
              </a:ext>
            </a:extLst>
          </p:cNvPr>
          <p:cNvSpPr/>
          <p:nvPr/>
        </p:nvSpPr>
        <p:spPr>
          <a:xfrm>
            <a:off x="0" y="-63374"/>
            <a:ext cx="12192000" cy="6408589"/>
          </a:xfrm>
          <a:prstGeom prst="rect">
            <a:avLst/>
          </a:prstGeom>
          <a:solidFill>
            <a:srgbClr val="691D3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DF1C0DBE-70C9-88D9-EEBD-48352134DC7B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2" name="Afgeronde rechthoek 21">
            <a:extLst>
              <a:ext uri="{FF2B5EF4-FFF2-40B4-BE49-F238E27FC236}">
                <a16:creationId xmlns:a16="http://schemas.microsoft.com/office/drawing/2014/main" id="{44FAECB9-F388-D64D-7CD0-F3EA40692EE5}"/>
              </a:ext>
            </a:extLst>
          </p:cNvPr>
          <p:cNvSpPr/>
          <p:nvPr/>
        </p:nvSpPr>
        <p:spPr>
          <a:xfrm>
            <a:off x="2737889" y="3835675"/>
            <a:ext cx="2323209" cy="1884642"/>
          </a:xfrm>
          <a:prstGeom prst="roundRect">
            <a:avLst>
              <a:gd name="adj" fmla="val 4075"/>
            </a:avLst>
          </a:prstGeo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F4A5FD54-8D14-27D7-3574-823BC6F424A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92" t="26191" r="7059" b="23902"/>
          <a:stretch/>
        </p:blipFill>
        <p:spPr>
          <a:xfrm>
            <a:off x="2459664" y="3578862"/>
            <a:ext cx="7527501" cy="2538403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FACA4A-27C4-029A-723E-57A43DEB29C6}"/>
              </a:ext>
            </a:extLst>
          </p:cNvPr>
          <p:cNvSpPr txBox="1">
            <a:spLocks/>
          </p:cNvSpPr>
          <p:nvPr/>
        </p:nvSpPr>
        <p:spPr>
          <a:xfrm>
            <a:off x="526234" y="1259797"/>
            <a:ext cx="10916466" cy="242238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3000" b="1">
                <a:latin typeface="Archivo" pitchFamily="2" charset="77"/>
                <a:cs typeface="Archivo" pitchFamily="2" charset="77"/>
              </a:rPr>
              <a:t>Ben je toe </a:t>
            </a:r>
            <a:r>
              <a:rPr lang="en-GB" sz="3000" b="1" err="1">
                <a:latin typeface="Archivo" pitchFamily="2" charset="77"/>
                <a:cs typeface="Archivo" pitchFamily="2" charset="77"/>
              </a:rPr>
              <a:t>aan</a:t>
            </a:r>
            <a:r>
              <a:rPr lang="en-GB" sz="3000" b="1">
                <a:latin typeface="Archivo" pitchFamily="2" charset="77"/>
                <a:cs typeface="Archivo" pitchFamily="2" charset="77"/>
              </a:rPr>
              <a:t> </a:t>
            </a:r>
            <a:r>
              <a:rPr lang="en-GB" sz="3000" b="1" err="1">
                <a:latin typeface="Archivo" pitchFamily="2" charset="77"/>
                <a:cs typeface="Archivo" pitchFamily="2" charset="77"/>
              </a:rPr>
              <a:t>relevante</a:t>
            </a:r>
            <a:r>
              <a:rPr lang="en-GB" sz="3000" b="1">
                <a:latin typeface="Archivo" pitchFamily="2" charset="77"/>
                <a:cs typeface="Archivo" pitchFamily="2" charset="77"/>
              </a:rPr>
              <a:t> ICT-</a:t>
            </a:r>
            <a:r>
              <a:rPr lang="en-GB" sz="3000" b="1" err="1">
                <a:latin typeface="Archivo" pitchFamily="2" charset="77"/>
                <a:cs typeface="Archivo" pitchFamily="2" charset="77"/>
              </a:rPr>
              <a:t>oplossingen</a:t>
            </a:r>
            <a:endParaRPr lang="en-GB" sz="3000" b="1">
              <a:latin typeface="Archivo" pitchFamily="2" charset="77"/>
              <a:cs typeface="Archivo" pitchFamily="2" charset="77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3000" b="1">
                <a:latin typeface="Archivo" pitchFamily="2" charset="77"/>
                <a:cs typeface="Archivo" pitchFamily="2" charset="77"/>
              </a:rPr>
              <a:t>die je </a:t>
            </a:r>
            <a:r>
              <a:rPr lang="en-GB" sz="3000" b="1" err="1">
                <a:latin typeface="Archivo" pitchFamily="2" charset="77"/>
                <a:cs typeface="Archivo" pitchFamily="2" charset="77"/>
              </a:rPr>
              <a:t>mensen</a:t>
            </a:r>
            <a:r>
              <a:rPr lang="en-GB" sz="3000" b="1">
                <a:latin typeface="Archivo" pitchFamily="2" charset="77"/>
                <a:cs typeface="Archivo" pitchFamily="2" charset="77"/>
              </a:rPr>
              <a:t> </a:t>
            </a:r>
            <a:r>
              <a:rPr lang="en-GB" sz="3000" b="1" err="1">
                <a:latin typeface="Archivo" pitchFamily="2" charset="77"/>
                <a:cs typeface="Archivo" pitchFamily="2" charset="77"/>
              </a:rPr>
              <a:t>helpt</a:t>
            </a:r>
            <a:r>
              <a:rPr lang="en-GB" sz="3000" b="1">
                <a:latin typeface="Archivo" pitchFamily="2" charset="77"/>
                <a:cs typeface="Archivo" pitchFamily="2" charset="77"/>
              </a:rPr>
              <a:t>                      </a:t>
            </a:r>
            <a:r>
              <a:rPr lang="en-GB" sz="3000" b="1" err="1">
                <a:latin typeface="Archivo" pitchFamily="2" charset="77"/>
                <a:cs typeface="Archivo" pitchFamily="2" charset="77"/>
              </a:rPr>
              <a:t>samen</a:t>
            </a:r>
            <a:r>
              <a:rPr lang="en-GB" sz="3000" b="1">
                <a:latin typeface="Archivo" pitchFamily="2" charset="77"/>
                <a:cs typeface="Archivo" pitchFamily="2" charset="77"/>
              </a:rPr>
              <a:t> </a:t>
            </a:r>
            <a:r>
              <a:rPr lang="en-GB" sz="3000" b="1" err="1">
                <a:latin typeface="Archivo" pitchFamily="2" charset="77"/>
                <a:cs typeface="Archivo" pitchFamily="2" charset="77"/>
              </a:rPr>
              <a:t>te</a:t>
            </a:r>
            <a:r>
              <a:rPr lang="en-GB" sz="3000" b="1">
                <a:latin typeface="Archivo" pitchFamily="2" charset="77"/>
                <a:cs typeface="Archivo" pitchFamily="2" charset="77"/>
              </a:rPr>
              <a:t>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3000" b="1" err="1">
                <a:latin typeface="Archivo" pitchFamily="2" charset="77"/>
                <a:cs typeface="Archivo" pitchFamily="2" charset="77"/>
              </a:rPr>
              <a:t>werken</a:t>
            </a:r>
            <a:r>
              <a:rPr lang="en-GB" sz="3000" b="1">
                <a:latin typeface="Archivo" pitchFamily="2" charset="77"/>
                <a:cs typeface="Archivo" pitchFamily="2" charset="77"/>
              </a:rPr>
              <a:t> </a:t>
            </a:r>
            <a:r>
              <a:rPr lang="en-GB" sz="3000" b="1" err="1">
                <a:latin typeface="Archivo" pitchFamily="2" charset="77"/>
                <a:cs typeface="Archivo" pitchFamily="2" charset="77"/>
              </a:rPr>
              <a:t>en</a:t>
            </a:r>
            <a:r>
              <a:rPr lang="en-GB" sz="3000" b="1">
                <a:latin typeface="Archivo" pitchFamily="2" charset="77"/>
                <a:cs typeface="Archivo" pitchFamily="2" charset="77"/>
              </a:rPr>
              <a:t>                       </a:t>
            </a:r>
            <a:r>
              <a:rPr lang="en-GB" sz="3000" b="1" err="1">
                <a:latin typeface="Archivo" pitchFamily="2" charset="77"/>
                <a:cs typeface="Archivo" pitchFamily="2" charset="77"/>
              </a:rPr>
              <a:t>te</a:t>
            </a:r>
            <a:r>
              <a:rPr lang="en-GB" sz="3000" b="1">
                <a:latin typeface="Archivo" pitchFamily="2" charset="77"/>
                <a:cs typeface="Archivo" pitchFamily="2" charset="77"/>
              </a:rPr>
              <a:t> </a:t>
            </a:r>
            <a:r>
              <a:rPr lang="en-GB" sz="3000" b="1" err="1">
                <a:latin typeface="Archivo" pitchFamily="2" charset="77"/>
                <a:cs typeface="Archivo" pitchFamily="2" charset="77"/>
              </a:rPr>
              <a:t>presteren</a:t>
            </a:r>
            <a:r>
              <a:rPr lang="en-GB" sz="3000" b="1">
                <a:latin typeface="Archivo" pitchFamily="2" charset="77"/>
                <a:cs typeface="Archivo" pitchFamily="2" charset="77"/>
              </a:rPr>
              <a:t>? 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0610277D-54BB-821F-C47E-6237EE7C4753}"/>
              </a:ext>
            </a:extLst>
          </p:cNvPr>
          <p:cNvSpPr txBox="1"/>
          <p:nvPr/>
        </p:nvSpPr>
        <p:spPr>
          <a:xfrm>
            <a:off x="6045200" y="1750982"/>
            <a:ext cx="2603500" cy="555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3320"/>
              </a:lnSpc>
            </a:pPr>
            <a:r>
              <a:rPr lang="en-GB" sz="4000" err="1">
                <a:solidFill>
                  <a:schemeClr val="accent1"/>
                </a:solidFill>
                <a:latin typeface="Caveat" pitchFamily="2" charset="0"/>
              </a:rPr>
              <a:t>efficiënt</a:t>
            </a:r>
            <a:endParaRPr lang="en-GB" sz="4000" b="1">
              <a:solidFill>
                <a:schemeClr val="accent1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0120770E-3DE3-CA2E-3CBA-8C19D385896A}"/>
              </a:ext>
            </a:extLst>
          </p:cNvPr>
          <p:cNvSpPr txBox="1"/>
          <p:nvPr/>
        </p:nvSpPr>
        <p:spPr>
          <a:xfrm>
            <a:off x="4846637" y="2231479"/>
            <a:ext cx="1901825" cy="555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3320"/>
              </a:lnSpc>
            </a:pPr>
            <a:r>
              <a:rPr lang="en-GB" sz="4000" err="1">
                <a:solidFill>
                  <a:schemeClr val="accent1"/>
                </a:solidFill>
                <a:latin typeface="Caveat" pitchFamily="2" charset="0"/>
              </a:rPr>
              <a:t>optimaal</a:t>
            </a:r>
            <a:endParaRPr lang="en-GB" sz="4000" b="1">
              <a:solidFill>
                <a:schemeClr val="accent1"/>
              </a:solidFill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1C353C23-3118-DEC6-C81C-EA42683CB575}"/>
              </a:ext>
            </a:extLst>
          </p:cNvPr>
          <p:cNvSpPr txBox="1"/>
          <p:nvPr/>
        </p:nvSpPr>
        <p:spPr>
          <a:xfrm>
            <a:off x="2204833" y="2786696"/>
            <a:ext cx="7782333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2600">
                <a:latin typeface="Archivo" pitchFamily="2" charset="77"/>
                <a:cs typeface="Archivo" pitchFamily="2" charset="77"/>
              </a:rPr>
              <a:t>Dan is tijd voor ICT die werkt voor jou! 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BEABBD9-B7A9-FF4F-BB30-FADA55925BB5}"/>
              </a:ext>
            </a:extLst>
          </p:cNvPr>
          <p:cNvSpPr txBox="1"/>
          <p:nvPr/>
        </p:nvSpPr>
        <p:spPr>
          <a:xfrm>
            <a:off x="5600700" y="4696105"/>
            <a:ext cx="31831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+31-620445565</a:t>
            </a:r>
          </a:p>
          <a:p>
            <a:r>
              <a:rPr lang="nl-NL" err="1"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robbert.van.hagen@esprit-ict.nl</a:t>
            </a:r>
            <a:endParaRPr lang="nl-NL">
              <a:latin typeface="Noto Sans ExtraBold" panose="020B0502040504020204" pitchFamily="34" charset="0"/>
              <a:ea typeface="Noto Sans ExtraBold" panose="020B0502040504020204" pitchFamily="34" charset="0"/>
              <a:cs typeface="Noto Sans ExtraBold" panose="020B0502040504020204" pitchFamily="34" charset="0"/>
            </a:endParaRPr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1524D397-113D-7A89-A9BB-A4066981510B}"/>
              </a:ext>
            </a:extLst>
          </p:cNvPr>
          <p:cNvSpPr txBox="1"/>
          <p:nvPr/>
        </p:nvSpPr>
        <p:spPr>
          <a:xfrm>
            <a:off x="5583766" y="4217586"/>
            <a:ext cx="609600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3000">
                <a:solidFill>
                  <a:schemeClr val="accent1"/>
                </a:solidFill>
                <a:latin typeface="Caveat" pitchFamily="2" charset="0"/>
                <a:ea typeface="Noto Sans ExtraBold" panose="020B0502040504020204" pitchFamily="34" charset="0"/>
                <a:cs typeface="Noto Sans ExtraBold" panose="020B0502040504020204" pitchFamily="34" charset="0"/>
              </a:rPr>
              <a:t>Robbert van Hagen</a:t>
            </a:r>
          </a:p>
        </p:txBody>
      </p:sp>
    </p:spTree>
    <p:extLst>
      <p:ext uri="{BB962C8B-B14F-4D97-AF65-F5344CB8AC3E}">
        <p14:creationId xmlns:p14="http://schemas.microsoft.com/office/powerpoint/2010/main" val="215178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2EE71B9-AB36-8C65-C322-EB5418A958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5604" y="1144740"/>
            <a:ext cx="11716395" cy="3579441"/>
          </a:xfrm>
        </p:spPr>
        <p:txBody>
          <a:bodyPr/>
          <a:lstStyle/>
          <a:p>
            <a:r>
              <a:rPr lang="nl-NL"/>
              <a:t>Pitch vanaf hier je </a:t>
            </a:r>
          </a:p>
          <a:p>
            <a:r>
              <a:rPr lang="nl-NL"/>
              <a:t>-	BU specifiek verhaal</a:t>
            </a:r>
          </a:p>
          <a:p>
            <a:r>
              <a:rPr lang="nl-NL"/>
              <a:t>-	Oplossing</a:t>
            </a:r>
          </a:p>
          <a:p>
            <a:r>
              <a:rPr lang="nl-NL"/>
              <a:t>-	Etcetera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1DEDA564-31B9-D117-6E3D-FEF78DB228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524" y="5713260"/>
            <a:ext cx="2610214" cy="809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744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A8FAD0B-1A3A-F643-7DB2-3760D42A4F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/>
              <a:t>XXXXXXXXX</a:t>
            </a:r>
          </a:p>
        </p:txBody>
      </p:sp>
    </p:spTree>
    <p:extLst>
      <p:ext uri="{BB962C8B-B14F-4D97-AF65-F5344CB8AC3E}">
        <p14:creationId xmlns:p14="http://schemas.microsoft.com/office/powerpoint/2010/main" val="307655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A8FAD0B-1A3A-F643-7DB2-3760D42A4F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/>
              <a:t>XXXXXXXXX</a:t>
            </a:r>
          </a:p>
        </p:txBody>
      </p:sp>
    </p:spTree>
    <p:extLst>
      <p:ext uri="{BB962C8B-B14F-4D97-AF65-F5344CB8AC3E}">
        <p14:creationId xmlns:p14="http://schemas.microsoft.com/office/powerpoint/2010/main" val="140891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C5594B-8043-1E8C-CB7E-FDAB2FD9AC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5605" y="1144740"/>
            <a:ext cx="5296545" cy="1643527"/>
          </a:xfrm>
        </p:spPr>
        <p:txBody>
          <a:bodyPr/>
          <a:lstStyle/>
          <a:p>
            <a:r>
              <a:rPr lang="en-US"/>
              <a:t>Templates </a:t>
            </a:r>
            <a:r>
              <a:rPr lang="en-NL"/>
              <a:t>Visuele slides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17F871BC-E596-AADC-D423-0BC2E138111E}"/>
              </a:ext>
            </a:extLst>
          </p:cNvPr>
          <p:cNvSpPr/>
          <p:nvPr/>
        </p:nvSpPr>
        <p:spPr>
          <a:xfrm>
            <a:off x="475604" y="5516857"/>
            <a:ext cx="1717179" cy="985421"/>
          </a:xfrm>
          <a:prstGeom prst="rect">
            <a:avLst/>
          </a:prstGeom>
          <a:solidFill>
            <a:srgbClr val="171A6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0088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2EE71B9-AB36-8C65-C322-EB5418A958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5605" y="1144740"/>
            <a:ext cx="5296545" cy="867930"/>
          </a:xfrm>
        </p:spPr>
        <p:txBody>
          <a:bodyPr/>
          <a:lstStyle/>
          <a:p>
            <a:r>
              <a:rPr lang="nl-NL"/>
              <a:t>Over ons</a:t>
            </a:r>
          </a:p>
        </p:txBody>
      </p:sp>
    </p:spTree>
    <p:extLst>
      <p:ext uri="{BB962C8B-B14F-4D97-AF65-F5344CB8AC3E}">
        <p14:creationId xmlns:p14="http://schemas.microsoft.com/office/powerpoint/2010/main" val="219064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hoek 29">
            <a:extLst>
              <a:ext uri="{FF2B5EF4-FFF2-40B4-BE49-F238E27FC236}">
                <a16:creationId xmlns:a16="http://schemas.microsoft.com/office/drawing/2014/main" id="{DEDB2686-80AB-1DCC-074E-547FF410DFB6}"/>
              </a:ext>
            </a:extLst>
          </p:cNvPr>
          <p:cNvSpPr/>
          <p:nvPr/>
        </p:nvSpPr>
        <p:spPr>
          <a:xfrm>
            <a:off x="0" y="0"/>
            <a:ext cx="12192000" cy="6346795"/>
          </a:xfrm>
          <a:prstGeom prst="rect">
            <a:avLst/>
          </a:prstGeom>
          <a:solidFill>
            <a:srgbClr val="FF82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ounded Rectangle 1">
            <a:extLst>
              <a:ext uri="{FF2B5EF4-FFF2-40B4-BE49-F238E27FC236}">
                <a16:creationId xmlns:a16="http://schemas.microsoft.com/office/drawing/2014/main" id="{542D48AF-069D-C9E5-E62A-1881595B3B10}"/>
              </a:ext>
            </a:extLst>
          </p:cNvPr>
          <p:cNvSpPr/>
          <p:nvPr/>
        </p:nvSpPr>
        <p:spPr>
          <a:xfrm>
            <a:off x="386499" y="391465"/>
            <a:ext cx="11365418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ounded Rectangle 1">
            <a:extLst>
              <a:ext uri="{FF2B5EF4-FFF2-40B4-BE49-F238E27FC236}">
                <a16:creationId xmlns:a16="http://schemas.microsoft.com/office/drawing/2014/main" id="{022A6419-7B5E-6C57-4808-7CE2AF5C27DD}"/>
              </a:ext>
            </a:extLst>
          </p:cNvPr>
          <p:cNvSpPr/>
          <p:nvPr/>
        </p:nvSpPr>
        <p:spPr>
          <a:xfrm>
            <a:off x="6635850" y="940274"/>
            <a:ext cx="4932263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ounded Rectangle 1">
            <a:extLst>
              <a:ext uri="{FF2B5EF4-FFF2-40B4-BE49-F238E27FC236}">
                <a16:creationId xmlns:a16="http://schemas.microsoft.com/office/drawing/2014/main" id="{DA4E150D-64DF-2B9E-A3BE-01FD37C1DD49}"/>
              </a:ext>
            </a:extLst>
          </p:cNvPr>
          <p:cNvSpPr/>
          <p:nvPr/>
        </p:nvSpPr>
        <p:spPr>
          <a:xfrm>
            <a:off x="6635850" y="1588784"/>
            <a:ext cx="4932263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Rounded Rectangle 1">
            <a:extLst>
              <a:ext uri="{FF2B5EF4-FFF2-40B4-BE49-F238E27FC236}">
                <a16:creationId xmlns:a16="http://schemas.microsoft.com/office/drawing/2014/main" id="{B6E34461-37EE-2F85-7D47-F3A65A0AECC2}"/>
              </a:ext>
            </a:extLst>
          </p:cNvPr>
          <p:cNvSpPr/>
          <p:nvPr/>
        </p:nvSpPr>
        <p:spPr>
          <a:xfrm>
            <a:off x="6635850" y="2237294"/>
            <a:ext cx="4932263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ounded Rectangle 1">
            <a:extLst>
              <a:ext uri="{FF2B5EF4-FFF2-40B4-BE49-F238E27FC236}">
                <a16:creationId xmlns:a16="http://schemas.microsoft.com/office/drawing/2014/main" id="{5601890C-EE2B-6EF1-C214-0141BEF8CB4B}"/>
              </a:ext>
            </a:extLst>
          </p:cNvPr>
          <p:cNvSpPr/>
          <p:nvPr/>
        </p:nvSpPr>
        <p:spPr>
          <a:xfrm>
            <a:off x="6635850" y="2885804"/>
            <a:ext cx="4932263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ounded Rectangle 1">
            <a:extLst>
              <a:ext uri="{FF2B5EF4-FFF2-40B4-BE49-F238E27FC236}">
                <a16:creationId xmlns:a16="http://schemas.microsoft.com/office/drawing/2014/main" id="{C016442E-2DF0-12E5-B889-D17E0A06940B}"/>
              </a:ext>
            </a:extLst>
          </p:cNvPr>
          <p:cNvSpPr/>
          <p:nvPr/>
        </p:nvSpPr>
        <p:spPr>
          <a:xfrm>
            <a:off x="6635850" y="3531810"/>
            <a:ext cx="4932263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Rounded Rectangle 1">
            <a:extLst>
              <a:ext uri="{FF2B5EF4-FFF2-40B4-BE49-F238E27FC236}">
                <a16:creationId xmlns:a16="http://schemas.microsoft.com/office/drawing/2014/main" id="{43329187-A23D-C1F2-4058-2303E065CFA9}"/>
              </a:ext>
            </a:extLst>
          </p:cNvPr>
          <p:cNvSpPr/>
          <p:nvPr/>
        </p:nvSpPr>
        <p:spPr>
          <a:xfrm>
            <a:off x="6635850" y="4182825"/>
            <a:ext cx="4932263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Rounded Rectangle 1">
            <a:extLst>
              <a:ext uri="{FF2B5EF4-FFF2-40B4-BE49-F238E27FC236}">
                <a16:creationId xmlns:a16="http://schemas.microsoft.com/office/drawing/2014/main" id="{6C873026-DBC1-1DAA-A081-DC17FC0BC8D0}"/>
              </a:ext>
            </a:extLst>
          </p:cNvPr>
          <p:cNvSpPr/>
          <p:nvPr/>
        </p:nvSpPr>
        <p:spPr>
          <a:xfrm>
            <a:off x="6635850" y="4830423"/>
            <a:ext cx="4932263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ounded Rectangle 1">
            <a:extLst>
              <a:ext uri="{FF2B5EF4-FFF2-40B4-BE49-F238E27FC236}">
                <a16:creationId xmlns:a16="http://schemas.microsoft.com/office/drawing/2014/main" id="{8DBD192D-4D3D-2AD2-A1D3-D5CC70E1D432}"/>
              </a:ext>
            </a:extLst>
          </p:cNvPr>
          <p:cNvSpPr/>
          <p:nvPr/>
        </p:nvSpPr>
        <p:spPr>
          <a:xfrm>
            <a:off x="6635850" y="5481438"/>
            <a:ext cx="4932263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3E76CA-5DFE-B37F-1FAB-9F5E925DCD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A7075B-81CD-BED2-F4E2-181911C31D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NL"/>
              <a:t>Opsomm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46D74F-10E9-5005-0272-79B613A463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ligula ac </a:t>
            </a:r>
            <a:r>
              <a:rPr lang="en-GB" err="1"/>
              <a:t>neque</a:t>
            </a:r>
            <a:r>
              <a:rPr lang="en-GB"/>
              <a:t>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mollis</a:t>
            </a:r>
            <a:r>
              <a:rPr lang="en-GB"/>
              <a:t>. </a:t>
            </a:r>
            <a:r>
              <a:rPr lang="en-GB" err="1"/>
              <a:t>Fusce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at </a:t>
            </a:r>
            <a:r>
              <a:rPr lang="en-GB" err="1"/>
              <a:t>justo</a:t>
            </a:r>
            <a:r>
              <a:rPr lang="en-GB"/>
              <a:t> vitae </a:t>
            </a:r>
            <a:r>
              <a:rPr lang="en-GB" err="1"/>
              <a:t>viverra</a:t>
            </a:r>
            <a:r>
              <a:rPr lang="en-GB"/>
              <a:t>. Sed </a:t>
            </a:r>
            <a:r>
              <a:rPr lang="en-GB" err="1"/>
              <a:t>scelerisque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leo</a:t>
            </a:r>
            <a:r>
              <a:rPr lang="en-GB"/>
              <a:t>, at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 a. Maecenas id </a:t>
            </a:r>
            <a:r>
              <a:rPr lang="en-GB" err="1"/>
              <a:t>bibendum</a:t>
            </a:r>
            <a:r>
              <a:rPr lang="en-GB"/>
              <a:t> </a:t>
            </a:r>
            <a:r>
              <a:rPr lang="en-GB" err="1"/>
              <a:t>massa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aliquet</a:t>
            </a:r>
            <a:r>
              <a:rPr lang="en-GB"/>
              <a:t> </a:t>
            </a:r>
            <a:r>
              <a:rPr lang="en-GB" err="1"/>
              <a:t>bibendum</a:t>
            </a:r>
            <a:r>
              <a:rPr lang="en-GB"/>
              <a:t> </a:t>
            </a:r>
            <a:r>
              <a:rPr lang="en-GB" err="1"/>
              <a:t>tortor</a:t>
            </a:r>
            <a:r>
              <a:rPr lang="en-GB"/>
              <a:t>, et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urna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 et. Donec </a:t>
            </a:r>
            <a:r>
              <a:rPr lang="en-GB" err="1"/>
              <a:t>suscipit</a:t>
            </a:r>
            <a:r>
              <a:rPr lang="en-GB"/>
              <a:t>, </a:t>
            </a:r>
            <a:r>
              <a:rPr lang="en-GB" err="1"/>
              <a:t>leo</a:t>
            </a:r>
            <a:r>
              <a:rPr lang="en-GB"/>
              <a:t> non </a:t>
            </a:r>
            <a:r>
              <a:rPr lang="en-GB" err="1"/>
              <a:t>fringi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, </a:t>
            </a:r>
            <a:r>
              <a:rPr lang="en-GB" err="1"/>
              <a:t>tortor</a:t>
            </a:r>
            <a:r>
              <a:rPr lang="en-GB"/>
              <a:t> </a:t>
            </a:r>
            <a:r>
              <a:rPr lang="en-GB" err="1"/>
              <a:t>leo</a:t>
            </a:r>
            <a:r>
              <a:rPr lang="en-GB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76D394-A137-48F2-3051-7F52CCC7189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NL">
              <a:solidFill>
                <a:schemeClr val="tx2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81F940-36BA-233C-D998-2D06EC054E9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NL">
              <a:solidFill>
                <a:schemeClr val="tx2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9DA4238-6E74-D80D-4260-BAB43E5C599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NL">
              <a:solidFill>
                <a:schemeClr val="tx2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A396ADC-576A-C78F-D19F-5298A3412A5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NL">
              <a:solidFill>
                <a:schemeClr val="tx2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5EB9E8-B63C-095A-9E05-9AED034734C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NL">
              <a:solidFill>
                <a:schemeClr val="tx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8F73001-401C-B9E8-335D-8BFE8F28879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NL">
              <a:solidFill>
                <a:schemeClr val="tx2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E2B79D-881F-BA58-29CD-38FDA4E1D49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NL">
              <a:solidFill>
                <a:schemeClr val="tx2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6DEDA68-8D88-47E7-DFB2-F49B550DF74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NL">
              <a:solidFill>
                <a:schemeClr val="tx2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411F5DF-85EB-C7E7-BD96-FDBF298441F9}"/>
              </a:ext>
            </a:extLst>
          </p:cNvPr>
          <p:cNvSpPr>
            <a:spLocks noChangeAspect="1"/>
          </p:cNvSpPr>
          <p:nvPr/>
        </p:nvSpPr>
        <p:spPr>
          <a:xfrm>
            <a:off x="6419850" y="940275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1379E54-E5AA-D661-035F-1D0DBE908EE4}"/>
              </a:ext>
            </a:extLst>
          </p:cNvPr>
          <p:cNvSpPr>
            <a:spLocks noChangeAspect="1"/>
          </p:cNvSpPr>
          <p:nvPr/>
        </p:nvSpPr>
        <p:spPr>
          <a:xfrm>
            <a:off x="6419850" y="1589013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01547CF-FE29-4B8C-C180-65DE0787CDA4}"/>
              </a:ext>
            </a:extLst>
          </p:cNvPr>
          <p:cNvSpPr>
            <a:spLocks noChangeAspect="1"/>
          </p:cNvSpPr>
          <p:nvPr/>
        </p:nvSpPr>
        <p:spPr>
          <a:xfrm>
            <a:off x="6419850" y="5481438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8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B7A3317-A2A6-7667-B69A-DBA9EC400D08}"/>
              </a:ext>
            </a:extLst>
          </p:cNvPr>
          <p:cNvSpPr>
            <a:spLocks noChangeAspect="1"/>
          </p:cNvSpPr>
          <p:nvPr/>
        </p:nvSpPr>
        <p:spPr>
          <a:xfrm>
            <a:off x="6419850" y="4832703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7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9DFAB2B-F632-B704-288D-54EC98709536}"/>
              </a:ext>
            </a:extLst>
          </p:cNvPr>
          <p:cNvSpPr>
            <a:spLocks noChangeAspect="1"/>
          </p:cNvSpPr>
          <p:nvPr/>
        </p:nvSpPr>
        <p:spPr>
          <a:xfrm>
            <a:off x="6419850" y="4183965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6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A0BCE06-6715-D3BF-DFDD-B1254CCB1C90}"/>
              </a:ext>
            </a:extLst>
          </p:cNvPr>
          <p:cNvSpPr>
            <a:spLocks noChangeAspect="1"/>
          </p:cNvSpPr>
          <p:nvPr/>
        </p:nvSpPr>
        <p:spPr>
          <a:xfrm>
            <a:off x="6419850" y="3535227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5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511ACA5-BB52-01F1-A566-4312A8237883}"/>
              </a:ext>
            </a:extLst>
          </p:cNvPr>
          <p:cNvSpPr>
            <a:spLocks noChangeAspect="1"/>
          </p:cNvSpPr>
          <p:nvPr/>
        </p:nvSpPr>
        <p:spPr>
          <a:xfrm>
            <a:off x="6419850" y="2886489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53D4AFF-960A-12AE-E7DB-704D010DC5CC}"/>
              </a:ext>
            </a:extLst>
          </p:cNvPr>
          <p:cNvSpPr>
            <a:spLocks noChangeAspect="1"/>
          </p:cNvSpPr>
          <p:nvPr/>
        </p:nvSpPr>
        <p:spPr>
          <a:xfrm>
            <a:off x="6419850" y="2237751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420878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>
            <a:extLst>
              <a:ext uri="{FF2B5EF4-FFF2-40B4-BE49-F238E27FC236}">
                <a16:creationId xmlns:a16="http://schemas.microsoft.com/office/drawing/2014/main" id="{C9554707-E4D4-9578-C599-5236D3138DCC}"/>
              </a:ext>
            </a:extLst>
          </p:cNvPr>
          <p:cNvSpPr/>
          <p:nvPr/>
        </p:nvSpPr>
        <p:spPr>
          <a:xfrm>
            <a:off x="0" y="0"/>
            <a:ext cx="12192000" cy="6345215"/>
          </a:xfrm>
          <a:prstGeom prst="rect">
            <a:avLst/>
          </a:prstGeom>
          <a:solidFill>
            <a:srgbClr val="A1D3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5" name="Rounded Rectangle 1">
            <a:extLst>
              <a:ext uri="{FF2B5EF4-FFF2-40B4-BE49-F238E27FC236}">
                <a16:creationId xmlns:a16="http://schemas.microsoft.com/office/drawing/2014/main" id="{09BDE13C-F7FB-ABF5-BD0E-1C924744F653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A1788C8-B746-959F-32E9-B363038D9F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E6D6EF-C0FE-3420-0B82-E23965D090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443" y="1091800"/>
            <a:ext cx="5259708" cy="646331"/>
          </a:xfrm>
        </p:spPr>
        <p:txBody>
          <a:bodyPr/>
          <a:lstStyle/>
          <a:p>
            <a:r>
              <a:rPr lang="en-GB" err="1"/>
              <a:t>Afbeelding</a:t>
            </a:r>
            <a:r>
              <a:rPr lang="en-GB"/>
              <a:t> </a:t>
            </a:r>
            <a:r>
              <a:rPr lang="en-GB" err="1"/>
              <a:t>rechts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F7183F-F4CF-4C83-0654-67018FB884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 Ut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. Donec maximus </a:t>
            </a:r>
            <a:r>
              <a:rPr lang="en-GB" err="1"/>
              <a:t>leo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egestas</a:t>
            </a:r>
            <a:r>
              <a:rPr lang="en-GB"/>
              <a:t>. Morbi id </a:t>
            </a:r>
            <a:r>
              <a:rPr lang="en-GB" err="1"/>
              <a:t>sem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non at </a:t>
            </a:r>
            <a:r>
              <a:rPr lang="en-GB" err="1"/>
              <a:t>turpis</a:t>
            </a:r>
            <a:r>
              <a:rPr lang="en-GB"/>
              <a:t>. Nam id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.</a:t>
            </a:r>
          </a:p>
          <a:p>
            <a:r>
              <a:rPr lang="en-GB"/>
              <a:t>Cras sit </a:t>
            </a:r>
            <a:r>
              <a:rPr lang="en-GB" err="1"/>
              <a:t>amet</a:t>
            </a:r>
            <a:r>
              <a:rPr lang="en-GB"/>
              <a:t> ligula diam. Vestibulum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ipsum. In convallis ac </a:t>
            </a:r>
            <a:r>
              <a:rPr lang="en-GB" err="1"/>
              <a:t>nibh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. Nam </a:t>
            </a:r>
            <a:r>
              <a:rPr lang="en-GB" err="1"/>
              <a:t>interdum</a:t>
            </a:r>
            <a:r>
              <a:rPr lang="en-GB"/>
              <a:t> magna </a:t>
            </a:r>
            <a:r>
              <a:rPr lang="en-GB" err="1"/>
              <a:t>orci</a:t>
            </a:r>
            <a:r>
              <a:rPr lang="en-GB"/>
              <a:t>,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 non. Nunc ligula </a:t>
            </a:r>
            <a:r>
              <a:rPr lang="en-GB" err="1"/>
              <a:t>dolor</a:t>
            </a:r>
            <a:r>
              <a:rPr lang="en-GB"/>
              <a:t>, </a:t>
            </a:r>
            <a:r>
              <a:rPr lang="en-GB" err="1"/>
              <a:t>posuere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orttitor</a:t>
            </a:r>
            <a:r>
              <a:rPr lang="en-GB"/>
              <a:t> semper, </a:t>
            </a:r>
            <a:r>
              <a:rPr lang="en-GB" err="1"/>
              <a:t>vehicula</a:t>
            </a:r>
            <a:r>
              <a:rPr lang="en-GB"/>
              <a:t> vitae </a:t>
            </a:r>
            <a:r>
              <a:rPr lang="en-GB" err="1"/>
              <a:t>quam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rna</a:t>
            </a:r>
            <a:r>
              <a:rPr lang="en-GB"/>
              <a:t>, </a:t>
            </a:r>
            <a:r>
              <a:rPr lang="en-GB" err="1"/>
              <a:t>rhoncus</a:t>
            </a:r>
            <a:r>
              <a:rPr lang="en-GB"/>
              <a:t> vitae </a:t>
            </a:r>
            <a:r>
              <a:rPr lang="en-GB" err="1"/>
              <a:t>odio</a:t>
            </a:r>
            <a:r>
              <a:rPr lang="en-GB"/>
              <a:t> in, vestibulum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. Nunc et </a:t>
            </a:r>
            <a:r>
              <a:rPr lang="en-GB" err="1"/>
              <a:t>porttitor</a:t>
            </a:r>
            <a:r>
              <a:rPr lang="en-GB"/>
              <a:t> ipsum. Nunc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 maximus. </a:t>
            </a:r>
            <a:r>
              <a:rPr lang="en-GB" err="1"/>
              <a:t>Fusce</a:t>
            </a:r>
            <a:r>
              <a:rPr lang="en-GB"/>
              <a:t> cursus, nisi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, eros </a:t>
            </a:r>
            <a:r>
              <a:rPr lang="en-GB" err="1"/>
              <a:t>nibh</a:t>
            </a:r>
            <a:r>
              <a:rPr lang="en-GB"/>
              <a:t> fermentum ante, id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ligula.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 </a:t>
            </a:r>
            <a:r>
              <a:rPr lang="en-GB" err="1"/>
              <a:t>montes</a:t>
            </a:r>
            <a:r>
              <a:rPr lang="en-GB"/>
              <a:t>, </a:t>
            </a:r>
            <a:r>
              <a:rPr lang="en-GB" err="1"/>
              <a:t>nascetur</a:t>
            </a:r>
            <a:r>
              <a:rPr lang="en-GB"/>
              <a:t> </a:t>
            </a:r>
            <a:r>
              <a:rPr lang="en-GB" err="1"/>
              <a:t>ridiculus</a:t>
            </a:r>
            <a:r>
              <a:rPr lang="en-GB"/>
              <a:t> mus. Vestibulum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lect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sodales</a:t>
            </a:r>
            <a:r>
              <a:rPr lang="en-GB"/>
              <a:t> et ante </a:t>
            </a:r>
            <a:r>
              <a:rPr lang="en-GB" err="1"/>
              <a:t>elementum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.</a:t>
            </a:r>
          </a:p>
        </p:txBody>
      </p:sp>
      <p:pic>
        <p:nvPicPr>
          <p:cNvPr id="7" name="Picture Placeholder 6" descr="A person holding a coffee cup and talking on the phone&#10;&#10;Description automatically generated">
            <a:extLst>
              <a:ext uri="{FF2B5EF4-FFF2-40B4-BE49-F238E27FC236}">
                <a16:creationId xmlns:a16="http://schemas.microsoft.com/office/drawing/2014/main" id="{E120E227-8B6F-2A10-DC94-2ADBDFDD169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419850" y="639567"/>
            <a:ext cx="5148263" cy="5616575"/>
          </a:xfrm>
        </p:spPr>
      </p:pic>
    </p:spTree>
    <p:extLst>
      <p:ext uri="{BB962C8B-B14F-4D97-AF65-F5344CB8AC3E}">
        <p14:creationId xmlns:p14="http://schemas.microsoft.com/office/powerpoint/2010/main" val="33987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>
            <a:extLst>
              <a:ext uri="{FF2B5EF4-FFF2-40B4-BE49-F238E27FC236}">
                <a16:creationId xmlns:a16="http://schemas.microsoft.com/office/drawing/2014/main" id="{74A36512-1A41-49A8-12FB-0AE9026A8F3B}"/>
              </a:ext>
            </a:extLst>
          </p:cNvPr>
          <p:cNvSpPr/>
          <p:nvPr/>
        </p:nvSpPr>
        <p:spPr>
          <a:xfrm>
            <a:off x="0" y="0"/>
            <a:ext cx="12192000" cy="6355061"/>
          </a:xfrm>
          <a:prstGeom prst="rect">
            <a:avLst/>
          </a:prstGeom>
          <a:solidFill>
            <a:srgbClr val="F8EAA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5" name="Rounded Rectangle 1">
            <a:extLst>
              <a:ext uri="{FF2B5EF4-FFF2-40B4-BE49-F238E27FC236}">
                <a16:creationId xmlns:a16="http://schemas.microsoft.com/office/drawing/2014/main" id="{DDF76A2E-7666-9009-BEC9-10D089703C63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78840B1-B100-E436-5E29-DD047F6FDD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NL"/>
              <a:t>Afbeelding rechts, dri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9DD684-2147-E794-4F96-6C3572101F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6233" y="2245057"/>
            <a:ext cx="3337741" cy="3668380"/>
          </a:xfrm>
        </p:spPr>
        <p:txBody>
          <a:bodyPr/>
          <a:lstStyle/>
          <a:p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 Ut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. Donec maximus </a:t>
            </a:r>
            <a:r>
              <a:rPr lang="en-GB" err="1"/>
              <a:t>leo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egestas</a:t>
            </a:r>
            <a:r>
              <a:rPr lang="en-GB"/>
              <a:t>. Morbi id </a:t>
            </a:r>
            <a:r>
              <a:rPr lang="en-GB" err="1"/>
              <a:t>sem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non at </a:t>
            </a:r>
            <a:r>
              <a:rPr lang="en-GB" err="1"/>
              <a:t>turpis</a:t>
            </a:r>
            <a:r>
              <a:rPr lang="en-GB"/>
              <a:t>. Nam id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.</a:t>
            </a:r>
          </a:p>
          <a:p>
            <a:r>
              <a:rPr lang="en-GB"/>
              <a:t>Cras sit </a:t>
            </a:r>
            <a:r>
              <a:rPr lang="en-GB" err="1"/>
              <a:t>amet</a:t>
            </a:r>
            <a:r>
              <a:rPr lang="en-GB"/>
              <a:t> ligula diam. Vestibulum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. </a:t>
            </a:r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ipsum. In convallis ac </a:t>
            </a:r>
            <a:r>
              <a:rPr lang="en-GB" err="1"/>
              <a:t>nibh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. Nam </a:t>
            </a:r>
            <a:r>
              <a:rPr lang="en-GB" err="1"/>
              <a:t>interdum</a:t>
            </a:r>
            <a:r>
              <a:rPr lang="en-GB"/>
              <a:t> magna </a:t>
            </a:r>
            <a:r>
              <a:rPr lang="en-GB" err="1"/>
              <a:t>orci</a:t>
            </a:r>
            <a:r>
              <a:rPr lang="en-GB"/>
              <a:t>,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</a:t>
            </a:r>
            <a:endParaRPr lang="en-NL"/>
          </a:p>
        </p:txBody>
      </p:sp>
      <p:pic>
        <p:nvPicPr>
          <p:cNvPr id="20" name="Picture Placeholder 19" descr="A person sitting on a couch using a computer&#10;&#10;Description automatically generated">
            <a:extLst>
              <a:ext uri="{FF2B5EF4-FFF2-40B4-BE49-F238E27FC236}">
                <a16:creationId xmlns:a16="http://schemas.microsoft.com/office/drawing/2014/main" id="{B61C1D7D-610F-98B4-8C82-1DCBA92102A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33" name="Picture Placeholder 32" descr="Two men sitting on a couch with a computer&#10;&#10;Description automatically generated">
            <a:extLst>
              <a:ext uri="{FF2B5EF4-FFF2-40B4-BE49-F238E27FC236}">
                <a16:creationId xmlns:a16="http://schemas.microsoft.com/office/drawing/2014/main" id="{9273599E-C240-C732-11A6-81DEDC4440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oundRect">
            <a:avLst>
              <a:gd name="adj" fmla="val 1591"/>
            </a:avLst>
          </a:prstGeom>
        </p:spPr>
      </p:pic>
      <p:pic>
        <p:nvPicPr>
          <p:cNvPr id="27" name="Picture Placeholder 26" descr="A person sitting on a yellow couch with a computer&#10;&#10;Description automatically generated">
            <a:extLst>
              <a:ext uri="{FF2B5EF4-FFF2-40B4-BE49-F238E27FC236}">
                <a16:creationId xmlns:a16="http://schemas.microsoft.com/office/drawing/2014/main" id="{415A4786-D6E8-EC30-3326-8DF74CF8CE9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oundRect">
            <a:avLst>
              <a:gd name="adj" fmla="val 1591"/>
            </a:avLst>
          </a:prstGeom>
        </p:spPr>
      </p:pic>
    </p:spTree>
    <p:extLst>
      <p:ext uri="{BB962C8B-B14F-4D97-AF65-F5344CB8AC3E}">
        <p14:creationId xmlns:p14="http://schemas.microsoft.com/office/powerpoint/2010/main" val="81467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69352264-271B-2791-5737-70C87FEAF7BD}"/>
              </a:ext>
            </a:extLst>
          </p:cNvPr>
          <p:cNvSpPr/>
          <p:nvPr/>
        </p:nvSpPr>
        <p:spPr>
          <a:xfrm>
            <a:off x="0" y="0"/>
            <a:ext cx="12192000" cy="6345215"/>
          </a:xfrm>
          <a:prstGeom prst="rect">
            <a:avLst/>
          </a:prstGeom>
          <a:solidFill>
            <a:srgbClr val="A1D3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7" name="Rounded Rectangle 1">
            <a:extLst>
              <a:ext uri="{FF2B5EF4-FFF2-40B4-BE49-F238E27FC236}">
                <a16:creationId xmlns:a16="http://schemas.microsoft.com/office/drawing/2014/main" id="{203A1DD5-D850-2BE4-861B-072119DF9A27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5E1B307-D209-BF51-17B6-E0D72E37E2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F61DA2-BEE4-0DCE-C4C7-5FFBCB9D65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442" y="1091800"/>
            <a:ext cx="7204395" cy="1200329"/>
          </a:xfrm>
        </p:spPr>
        <p:txBody>
          <a:bodyPr/>
          <a:lstStyle/>
          <a:p>
            <a:r>
              <a:rPr lang="en-NL" dirty="0"/>
              <a:t>Hier komt een afbeelding rechtsonder te staa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CCCA83-F75F-3252-62C1-308C693369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7873" y="3157160"/>
            <a:ext cx="3337742" cy="2139011"/>
          </a:xfrm>
        </p:spPr>
        <p:txBody>
          <a:bodyPr/>
          <a:lstStyle/>
          <a:p>
            <a:r>
              <a:rPr lang="en-GB" dirty="0"/>
              <a:t>Cras sit </a:t>
            </a:r>
            <a:r>
              <a:rPr lang="en-GB" dirty="0" err="1"/>
              <a:t>amet</a:t>
            </a:r>
            <a:r>
              <a:rPr lang="en-GB" dirty="0"/>
              <a:t> ligula diam. Vestibulum </a:t>
            </a:r>
            <a:r>
              <a:rPr lang="en-GB" dirty="0" err="1"/>
              <a:t>malesuada</a:t>
            </a:r>
            <a:r>
              <a:rPr lang="en-GB" dirty="0"/>
              <a:t> </a:t>
            </a:r>
            <a:r>
              <a:rPr lang="en-GB" dirty="0" err="1"/>
              <a:t>sapien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 </a:t>
            </a:r>
            <a:r>
              <a:rPr lang="en-GB" dirty="0" err="1"/>
              <a:t>lacus</a:t>
            </a:r>
            <a:r>
              <a:rPr lang="en-GB" dirty="0"/>
              <a:t> </a:t>
            </a:r>
            <a:r>
              <a:rPr lang="en-GB" dirty="0" err="1"/>
              <a:t>iaculis</a:t>
            </a:r>
            <a:r>
              <a:rPr lang="en-GB" dirty="0"/>
              <a:t> </a:t>
            </a:r>
            <a:r>
              <a:rPr lang="en-GB" dirty="0" err="1"/>
              <a:t>dapib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posuere</a:t>
            </a:r>
            <a:r>
              <a:rPr lang="en-GB" dirty="0"/>
              <a:t> ipsum. In convallis ac </a:t>
            </a:r>
            <a:r>
              <a:rPr lang="en-GB" dirty="0" err="1"/>
              <a:t>nibh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 </a:t>
            </a:r>
            <a:r>
              <a:rPr lang="en-GB" dirty="0" err="1"/>
              <a:t>facilisis</a:t>
            </a:r>
            <a:r>
              <a:rPr lang="en-GB" dirty="0"/>
              <a:t>. Nam </a:t>
            </a:r>
            <a:r>
              <a:rPr lang="en-GB" dirty="0" err="1"/>
              <a:t>interdum</a:t>
            </a:r>
            <a:r>
              <a:rPr lang="en-GB" dirty="0"/>
              <a:t> magna </a:t>
            </a:r>
            <a:r>
              <a:rPr lang="en-GB" dirty="0" err="1"/>
              <a:t>orci</a:t>
            </a:r>
            <a:r>
              <a:rPr lang="en-GB" dirty="0"/>
              <a:t>, </a:t>
            </a:r>
            <a:r>
              <a:rPr lang="en-GB" dirty="0" err="1"/>
              <a:t>eget</a:t>
            </a:r>
            <a:r>
              <a:rPr lang="en-GB" dirty="0"/>
              <a:t> </a:t>
            </a:r>
            <a:r>
              <a:rPr lang="en-GB" dirty="0" err="1"/>
              <a:t>consequat</a:t>
            </a:r>
            <a:r>
              <a:rPr lang="en-GB" dirty="0"/>
              <a:t> </a:t>
            </a:r>
            <a:r>
              <a:rPr lang="en-GB" dirty="0" err="1"/>
              <a:t>quam</a:t>
            </a:r>
            <a:r>
              <a:rPr lang="en-GB" dirty="0"/>
              <a:t> </a:t>
            </a:r>
            <a:r>
              <a:rPr lang="en-GB" dirty="0" err="1"/>
              <a:t>volutpat</a:t>
            </a:r>
            <a:r>
              <a:rPr lang="en-GB" dirty="0"/>
              <a:t> non. Nunc ligula </a:t>
            </a:r>
            <a:r>
              <a:rPr lang="en-GB" dirty="0" err="1"/>
              <a:t>dolor</a:t>
            </a:r>
            <a:r>
              <a:rPr lang="en-GB" dirty="0"/>
              <a:t>, </a:t>
            </a:r>
            <a:r>
              <a:rPr lang="en-GB" dirty="0" err="1"/>
              <a:t>posuere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porttitor</a:t>
            </a:r>
            <a:r>
              <a:rPr lang="en-GB" dirty="0"/>
              <a:t> semper, </a:t>
            </a:r>
            <a:r>
              <a:rPr lang="en-GB" dirty="0" err="1"/>
              <a:t>vehicula</a:t>
            </a:r>
            <a:r>
              <a:rPr lang="en-GB" dirty="0"/>
              <a:t> vitae </a:t>
            </a:r>
            <a:r>
              <a:rPr lang="en-GB" dirty="0" err="1"/>
              <a:t>quam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orci</a:t>
            </a:r>
            <a:r>
              <a:rPr lang="en-GB" dirty="0"/>
              <a:t> </a:t>
            </a:r>
            <a:r>
              <a:rPr lang="en-GB" dirty="0" err="1"/>
              <a:t>urna</a:t>
            </a:r>
            <a:r>
              <a:rPr lang="en-GB" dirty="0"/>
              <a:t>, </a:t>
            </a:r>
            <a:r>
              <a:rPr lang="en-GB" dirty="0" err="1"/>
              <a:t>rhoncus</a:t>
            </a:r>
            <a:r>
              <a:rPr lang="en-GB" dirty="0"/>
              <a:t> vitae </a:t>
            </a:r>
            <a:r>
              <a:rPr lang="en-GB" dirty="0" err="1"/>
              <a:t>odio</a:t>
            </a:r>
            <a:r>
              <a:rPr lang="en-GB" dirty="0"/>
              <a:t> in, vestibulum </a:t>
            </a:r>
            <a:r>
              <a:rPr lang="en-GB" dirty="0" err="1"/>
              <a:t>feugiat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. Nunc et </a:t>
            </a:r>
            <a:r>
              <a:rPr lang="en-GB" dirty="0" err="1"/>
              <a:t>porttitor</a:t>
            </a:r>
            <a:r>
              <a:rPr lang="en-GB" dirty="0"/>
              <a:t> ipsum. Nunc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auris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erat</a:t>
            </a:r>
            <a:r>
              <a:rPr lang="en-GB" dirty="0"/>
              <a:t> </a:t>
            </a:r>
            <a:r>
              <a:rPr lang="en-GB" dirty="0" err="1"/>
              <a:t>dapibus</a:t>
            </a:r>
            <a:r>
              <a:rPr lang="en-GB" dirty="0"/>
              <a:t> maximus. </a:t>
            </a:r>
            <a:r>
              <a:rPr lang="en-GB" dirty="0" err="1"/>
              <a:t>Fusce</a:t>
            </a:r>
            <a:r>
              <a:rPr lang="en-GB" dirty="0"/>
              <a:t> cursus, nisi </a:t>
            </a:r>
            <a:r>
              <a:rPr lang="en-GB" dirty="0" err="1"/>
              <a:t>eget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dignissim</a:t>
            </a:r>
            <a:r>
              <a:rPr lang="en-GB" dirty="0"/>
              <a:t>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BC48365-5B81-4C37-2057-33A5B5FEF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5894" y="2712122"/>
            <a:ext cx="3330484" cy="339948"/>
          </a:xfrm>
        </p:spPr>
        <p:txBody>
          <a:bodyPr/>
          <a:lstStyle/>
          <a:p>
            <a:r>
              <a:rPr lang="en-NL" dirty="0"/>
              <a:t>Tussenkopje</a:t>
            </a:r>
          </a:p>
        </p:txBody>
      </p:sp>
      <p:pic>
        <p:nvPicPr>
          <p:cNvPr id="13" name="Picture Placeholder 12" descr="A person sitting on a couch using a computer&#10;&#10;Description automatically generated">
            <a:extLst>
              <a:ext uri="{FF2B5EF4-FFF2-40B4-BE49-F238E27FC236}">
                <a16:creationId xmlns:a16="http://schemas.microsoft.com/office/drawing/2014/main" id="{D0CF2A43-3D5B-1FC7-D26B-E67654A8CED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1675" y="3105150"/>
            <a:ext cx="7056438" cy="3132138"/>
          </a:xfr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7D5D6290-D686-991C-975E-5D3BAAC277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779" y="6408152"/>
            <a:ext cx="873008" cy="277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351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D180D01-0B5C-3543-696E-58904B9A1968}"/>
              </a:ext>
            </a:extLst>
          </p:cNvPr>
          <p:cNvSpPr/>
          <p:nvPr/>
        </p:nvSpPr>
        <p:spPr>
          <a:xfrm>
            <a:off x="0" y="0"/>
            <a:ext cx="12192000" cy="6355061"/>
          </a:xfrm>
          <a:prstGeom prst="rect">
            <a:avLst/>
          </a:prstGeom>
          <a:solidFill>
            <a:srgbClr val="F8EAA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7" name="Rounded Rectangle 1">
            <a:extLst>
              <a:ext uri="{FF2B5EF4-FFF2-40B4-BE49-F238E27FC236}">
                <a16:creationId xmlns:a16="http://schemas.microsoft.com/office/drawing/2014/main" id="{71EBE0FB-3499-963E-2883-02E312277745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C2291A0-F601-FF02-8DA4-8D6FB43A08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586C40-8A1B-6323-C7D5-2F089F3658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NL"/>
              <a:t>Afbeelding, opsomm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6F9407-B2AA-6C86-6949-0E3E41C3DF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nisi cursus, </a:t>
            </a:r>
            <a:r>
              <a:rPr lang="en-GB" err="1"/>
              <a:t>laoreet</a:t>
            </a:r>
            <a:r>
              <a:rPr lang="en-GB"/>
              <a:t> </a:t>
            </a:r>
            <a:r>
              <a:rPr lang="en-GB" err="1"/>
              <a:t>fel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,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. </a:t>
            </a:r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aliquam</a:t>
            </a:r>
            <a:r>
              <a:rPr lang="en-GB"/>
              <a:t> ante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.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tortor</a:t>
            </a:r>
            <a:r>
              <a:rPr lang="en-GB"/>
              <a:t>, tempus et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auctor </a:t>
            </a:r>
            <a:r>
              <a:rPr lang="en-GB" err="1"/>
              <a:t>finibus</a:t>
            </a:r>
            <a:r>
              <a:rPr lang="en-GB"/>
              <a:t> ipsum. Nam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a </a:t>
            </a:r>
            <a:r>
              <a:rPr lang="en-GB" err="1"/>
              <a:t>aliquam</a:t>
            </a:r>
            <a:r>
              <a:rPr lang="en-GB"/>
              <a:t>. Integer sit </a:t>
            </a:r>
            <a:r>
              <a:rPr lang="en-GB" err="1"/>
              <a:t>amet</a:t>
            </a:r>
            <a:r>
              <a:rPr lang="en-GB"/>
              <a:t> lorem eros. Ut ligula </a:t>
            </a:r>
            <a:r>
              <a:rPr lang="en-GB" err="1"/>
              <a:t>neque</a:t>
            </a:r>
            <a:r>
              <a:rPr lang="en-GB"/>
              <a:t>.</a:t>
            </a:r>
            <a:endParaRPr lang="en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78CD22-9E4D-233D-3686-E8F761C5D8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NL"/>
              <a:t>Tussenkopje</a:t>
            </a:r>
          </a:p>
        </p:txBody>
      </p:sp>
      <p:pic>
        <p:nvPicPr>
          <p:cNvPr id="22" name="Picture Placeholder 21" descr="A person holding a phone&#10;&#10;Description automatically generated">
            <a:extLst>
              <a:ext uri="{FF2B5EF4-FFF2-40B4-BE49-F238E27FC236}">
                <a16:creationId xmlns:a16="http://schemas.microsoft.com/office/drawing/2014/main" id="{E9498B86-A08B-2CD2-B860-01ECC835555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65467A-D602-7F0C-78A9-391DD36541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err="1"/>
              <a:t>Aliquam</a:t>
            </a:r>
            <a:r>
              <a:rPr lang="en-GB"/>
              <a:t> fermentum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massa</a:t>
            </a:r>
            <a:r>
              <a:rPr lang="en-GB"/>
              <a:t> at convallis. Donec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et </a:t>
            </a:r>
            <a:r>
              <a:rPr lang="en-GB" err="1"/>
              <a:t>eli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ultrices</a:t>
            </a:r>
            <a:r>
              <a:rPr lang="en-GB"/>
              <a:t>. Integer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lect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turpis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ultrice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at </a:t>
            </a:r>
            <a:r>
              <a:rPr lang="en-GB" err="1"/>
              <a:t>purus</a:t>
            </a:r>
            <a:r>
              <a:rPr lang="en-GB"/>
              <a:t>. Vestibulum non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massa</a:t>
            </a:r>
            <a:r>
              <a:rPr lang="en-GB"/>
              <a:t>. Morbi </a:t>
            </a:r>
            <a:r>
              <a:rPr lang="en-GB" err="1"/>
              <a:t>mattis</a:t>
            </a:r>
            <a:r>
              <a:rPr lang="en-GB"/>
              <a:t> magna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, et </a:t>
            </a:r>
            <a:r>
              <a:rPr lang="en-GB" err="1"/>
              <a:t>consequat</a:t>
            </a:r>
            <a:r>
              <a:rPr lang="en-GB"/>
              <a:t>.</a:t>
            </a:r>
            <a:endParaRPr lang="en-NL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ECA9374-E05A-D579-5B99-AB93CB6515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NL"/>
              <a:t>Tussenkopje</a:t>
            </a:r>
          </a:p>
        </p:txBody>
      </p:sp>
      <p:pic>
        <p:nvPicPr>
          <p:cNvPr id="18" name="Picture Placeholder 17" descr="A person sitting on a couch using a computer&#10;&#10;Description automatically generated">
            <a:extLst>
              <a:ext uri="{FF2B5EF4-FFF2-40B4-BE49-F238E27FC236}">
                <a16:creationId xmlns:a16="http://schemas.microsoft.com/office/drawing/2014/main" id="{C7C57A09-2F27-DF94-20DC-15CC7736C3B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B1B773-D329-FE3B-EDA0-51CA593248E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elis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pharetra. Sed </a:t>
            </a:r>
            <a:r>
              <a:rPr lang="en-GB" err="1"/>
              <a:t>venenatis</a:t>
            </a:r>
            <a:r>
              <a:rPr lang="en-GB"/>
              <a:t>, </a:t>
            </a:r>
            <a:r>
              <a:rPr lang="en-GB" err="1"/>
              <a:t>ne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, </a:t>
            </a:r>
            <a:r>
              <a:rPr lang="en-GB" err="1"/>
              <a:t>felis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 maximus ipsum, vitae pharetra ipsum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turpis</a:t>
            </a:r>
            <a:r>
              <a:rPr lang="en-GB"/>
              <a:t>. Morbi </a:t>
            </a:r>
            <a:r>
              <a:rPr lang="en-GB" err="1"/>
              <a:t>finibus</a:t>
            </a:r>
            <a:r>
              <a:rPr lang="en-GB"/>
              <a:t> mi id </a:t>
            </a:r>
            <a:r>
              <a:rPr lang="en-GB" err="1"/>
              <a:t>purus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. Maecenas id </a:t>
            </a:r>
            <a:r>
              <a:rPr lang="en-GB" err="1"/>
              <a:t>imperdiet</a:t>
            </a:r>
            <a:r>
              <a:rPr lang="en-GB"/>
              <a:t>.</a:t>
            </a:r>
            <a:endParaRPr lang="en-NL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21758EC-3300-E58D-A25F-3378DDD9BB4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NL"/>
              <a:t>Tussenkopje</a:t>
            </a:r>
          </a:p>
        </p:txBody>
      </p:sp>
      <p:pic>
        <p:nvPicPr>
          <p:cNvPr id="19" name="Picture Placeholder 18" descr="A person holding a cellphone&#10;&#10;Description automatically generated">
            <a:extLst>
              <a:ext uri="{FF2B5EF4-FFF2-40B4-BE49-F238E27FC236}">
                <a16:creationId xmlns:a16="http://schemas.microsoft.com/office/drawing/2014/main" id="{E906BC5C-9EE1-1D66-3BDE-45B60EEB825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F592C665-ECB0-E121-F0A0-5102F3ED78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2779" y="6408152"/>
            <a:ext cx="873008" cy="277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80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3141DF-A18A-DB13-2953-697A8326D5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66C59B-6090-6F59-DC40-AFCE0E55F6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NL"/>
              <a:t>Datapunt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E9C185-232F-2765-1122-1FC7B07507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6234" y="1667106"/>
            <a:ext cx="5245916" cy="1761893"/>
          </a:xfrm>
        </p:spPr>
        <p:txBody>
          <a:bodyPr/>
          <a:lstStyle/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</a:t>
            </a:r>
            <a:br>
              <a:rPr lang="en-GB"/>
            </a:br>
            <a:br>
              <a:rPr lang="en-GB"/>
            </a:br>
            <a:r>
              <a:rPr lang="en-GB"/>
              <a:t>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r>
              <a:rPr lang="en-GB"/>
              <a:t>. In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rhoncus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. Cras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.</a:t>
            </a:r>
            <a:endParaRPr lang="en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67C166-F913-BFDE-7444-26D34DE8D8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NL"/>
              <a:t>€200,-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5759E6-4174-A5A5-78D0-D8E09C27E64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err="1"/>
              <a:t>Phasellus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ipsum convallis ac </a:t>
            </a:r>
            <a:r>
              <a:rPr lang="en-GB" err="1"/>
              <a:t>nibh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consecteur</a:t>
            </a:r>
            <a:endParaRPr lang="en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16F052-5A77-9290-51D3-98B1915C30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NL"/>
              <a:t>+3%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CD23D-8F49-473F-431A-0BB8FE8B098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/>
              <a:t>Vestibulum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endParaRPr lang="en-NL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1D683E3-2F26-62B1-34A2-27326871823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non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placerat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ipsum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. Sed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lacinia. Duis vitae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ac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nequ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7998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E8E1A60-635B-008B-3795-D223058478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2233EF-8D3D-E73C-1578-396DDB021E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444" y="1091800"/>
            <a:ext cx="2379982" cy="1200329"/>
          </a:xfrm>
        </p:spPr>
        <p:txBody>
          <a:bodyPr/>
          <a:lstStyle/>
          <a:p>
            <a:r>
              <a:rPr lang="en-NL"/>
              <a:t>Data blokk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B5E394-0064-33FA-63EF-0112830E3D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6234" y="2208049"/>
            <a:ext cx="2366192" cy="3621308"/>
          </a:xfrm>
        </p:spPr>
        <p:txBody>
          <a:bodyPr/>
          <a:lstStyle/>
          <a:p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sollicitudin</a:t>
            </a:r>
            <a:r>
              <a:rPr lang="en-GB"/>
              <a:t> </a:t>
            </a:r>
            <a:r>
              <a:rPr lang="en-GB" err="1"/>
              <a:t>congue</a:t>
            </a:r>
            <a:r>
              <a:rPr lang="en-GB"/>
              <a:t> ante a </a:t>
            </a:r>
            <a:r>
              <a:rPr lang="en-GB" err="1"/>
              <a:t>pretiu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sem. Ut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tristique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. Donec maximus </a:t>
            </a:r>
            <a:r>
              <a:rPr lang="en-GB" err="1"/>
              <a:t>leo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egestas</a:t>
            </a:r>
            <a:r>
              <a:rPr lang="en-GB"/>
              <a:t>. Morbi id </a:t>
            </a:r>
            <a:r>
              <a:rPr lang="en-GB" err="1"/>
              <a:t>sem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. </a:t>
            </a:r>
            <a:r>
              <a:rPr lang="en-GB" err="1"/>
              <a:t>Null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mattis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luct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non at </a:t>
            </a:r>
            <a:r>
              <a:rPr lang="en-GB" err="1"/>
              <a:t>turpis</a:t>
            </a:r>
            <a:r>
              <a:rPr lang="en-GB"/>
              <a:t>. Nam id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.</a:t>
            </a:r>
            <a:endParaRPr lang="en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95D382-88A9-0901-44E5-E5F36868A1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07236" y="1401874"/>
            <a:ext cx="2167947" cy="830997"/>
          </a:xfrm>
        </p:spPr>
        <p:txBody>
          <a:bodyPr/>
          <a:lstStyle/>
          <a:p>
            <a:r>
              <a:rPr lang="en-NL"/>
              <a:t>€20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6F7016-FD6E-F267-3874-94C80EB827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err="1"/>
              <a:t>Fusce</a:t>
            </a:r>
            <a:r>
              <a:rPr lang="en-GB"/>
              <a:t> cursus, nisi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, eros </a:t>
            </a:r>
            <a:r>
              <a:rPr lang="en-GB" err="1"/>
              <a:t>nibh</a:t>
            </a:r>
            <a:r>
              <a:rPr lang="en-GB"/>
              <a:t> fermentum ante</a:t>
            </a:r>
            <a:endParaRPr lang="en-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4C6522A-2938-4B8F-77CA-644B87BFF9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83919" y="1401875"/>
            <a:ext cx="2167947" cy="830997"/>
          </a:xfrm>
        </p:spPr>
        <p:txBody>
          <a:bodyPr/>
          <a:lstStyle/>
          <a:p>
            <a:r>
              <a:rPr lang="en-NL"/>
              <a:t>+1%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5533AF3-FA74-3D9F-0D53-2C3CAF6435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err="1"/>
              <a:t>estibulum</a:t>
            </a:r>
            <a:r>
              <a:rPr lang="en-GB"/>
              <a:t>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endParaRPr lang="en-NL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11A73DC-7A29-12AE-5E0D-D4795A9311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07236" y="4152005"/>
            <a:ext cx="2167947" cy="830997"/>
          </a:xfrm>
        </p:spPr>
        <p:txBody>
          <a:bodyPr/>
          <a:lstStyle/>
          <a:p>
            <a:r>
              <a:rPr lang="en-NL"/>
              <a:t>3000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34E613B-3F23-90AF-9972-0F6A8FCC65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 </a:t>
            </a:r>
            <a:r>
              <a:rPr lang="en-GB" err="1"/>
              <a:t>montes</a:t>
            </a:r>
            <a:endParaRPr lang="en-NL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C887253-C733-F7F0-4E9D-C85A2047DD8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90846" y="4152006"/>
            <a:ext cx="2167947" cy="830997"/>
          </a:xfrm>
        </p:spPr>
        <p:txBody>
          <a:bodyPr/>
          <a:lstStyle/>
          <a:p>
            <a:r>
              <a:rPr lang="en-NL"/>
              <a:t>55%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9269582-45B7-4138-1D8C-40C11439AD4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/>
              <a:t>Morbi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egestas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7659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CA296D-FB61-497F-25D8-2F40F92F96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A14B34-27A3-C80B-78A8-064DFEEE5D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444" y="1091800"/>
            <a:ext cx="2379982" cy="1200329"/>
          </a:xfrm>
        </p:spPr>
        <p:txBody>
          <a:bodyPr/>
          <a:lstStyle/>
          <a:p>
            <a:r>
              <a:rPr lang="en-NL"/>
              <a:t>Data blokk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886CD4-3E74-503D-A97E-C06098AF34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6234" y="2208048"/>
            <a:ext cx="2366192" cy="3705389"/>
          </a:xfrm>
        </p:spPr>
        <p:txBody>
          <a:bodyPr/>
          <a:lstStyle/>
          <a:p>
            <a:r>
              <a:rPr lang="en-GB" dirty="0" err="1"/>
              <a:t>Suspendisse</a:t>
            </a:r>
            <a:r>
              <a:rPr lang="en-GB" dirty="0"/>
              <a:t> </a:t>
            </a:r>
            <a:r>
              <a:rPr lang="en-GB" dirty="0" err="1"/>
              <a:t>potenti</a:t>
            </a:r>
            <a:r>
              <a:rPr lang="en-GB" dirty="0"/>
              <a:t>. Sed </a:t>
            </a:r>
            <a:r>
              <a:rPr lang="en-GB" dirty="0" err="1"/>
              <a:t>eu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</a:t>
            </a:r>
            <a:r>
              <a:rPr lang="en-GB" dirty="0" err="1"/>
              <a:t>sapien</a:t>
            </a:r>
            <a:r>
              <a:rPr lang="en-GB" dirty="0"/>
              <a:t>. </a:t>
            </a:r>
            <a:r>
              <a:rPr lang="en-GB" dirty="0" err="1"/>
              <a:t>Aliquam</a:t>
            </a:r>
            <a:r>
              <a:rPr lang="en-GB" dirty="0"/>
              <a:t> </a:t>
            </a:r>
            <a:r>
              <a:rPr lang="en-GB" dirty="0" err="1"/>
              <a:t>sed</a:t>
            </a:r>
            <a:r>
              <a:rPr lang="en-GB" dirty="0"/>
              <a:t> </a:t>
            </a:r>
            <a:r>
              <a:rPr lang="en-GB" dirty="0" err="1"/>
              <a:t>pellentesque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sollicitudin</a:t>
            </a:r>
            <a:r>
              <a:rPr lang="en-GB" dirty="0"/>
              <a:t> </a:t>
            </a:r>
            <a:r>
              <a:rPr lang="en-GB" dirty="0" err="1"/>
              <a:t>congue</a:t>
            </a:r>
            <a:r>
              <a:rPr lang="en-GB" dirty="0"/>
              <a:t> ante a </a:t>
            </a:r>
            <a:r>
              <a:rPr lang="en-GB" dirty="0" err="1"/>
              <a:t>pretium</a:t>
            </a:r>
            <a:r>
              <a:rPr lang="en-GB" dirty="0"/>
              <a:t>.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molestie</a:t>
            </a:r>
            <a:r>
              <a:rPr lang="en-GB" dirty="0"/>
              <a:t> sem. Ut </a:t>
            </a:r>
            <a:r>
              <a:rPr lang="en-GB" dirty="0" err="1"/>
              <a:t>quis</a:t>
            </a:r>
            <a:r>
              <a:rPr lang="en-GB" dirty="0"/>
              <a:t> </a:t>
            </a:r>
            <a:r>
              <a:rPr lang="en-GB" dirty="0" err="1"/>
              <a:t>tristique</a:t>
            </a:r>
            <a:r>
              <a:rPr lang="en-GB" dirty="0"/>
              <a:t> </a:t>
            </a:r>
            <a:r>
              <a:rPr lang="en-GB" dirty="0" err="1"/>
              <a:t>justo</a:t>
            </a:r>
            <a:r>
              <a:rPr lang="en-GB" dirty="0"/>
              <a:t>. Donec maximus </a:t>
            </a:r>
            <a:r>
              <a:rPr lang="en-GB" dirty="0" err="1"/>
              <a:t>leo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 </a:t>
            </a:r>
            <a:r>
              <a:rPr lang="en-GB" dirty="0" err="1"/>
              <a:t>orci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egestas</a:t>
            </a:r>
            <a:r>
              <a:rPr lang="en-GB" dirty="0"/>
              <a:t>. Morbi id </a:t>
            </a:r>
            <a:r>
              <a:rPr lang="en-GB" dirty="0" err="1"/>
              <a:t>sem</a:t>
            </a:r>
            <a:r>
              <a:rPr lang="en-GB" dirty="0"/>
              <a:t> </a:t>
            </a:r>
            <a:r>
              <a:rPr lang="en-GB" dirty="0" err="1"/>
              <a:t>enim</a:t>
            </a:r>
            <a:r>
              <a:rPr lang="en-GB" dirty="0"/>
              <a:t>. Morbi </a:t>
            </a:r>
            <a:r>
              <a:rPr lang="en-GB" dirty="0" err="1"/>
              <a:t>mollis</a:t>
            </a:r>
            <a:r>
              <a:rPr lang="en-GB" dirty="0"/>
              <a:t> semper </a:t>
            </a:r>
            <a:r>
              <a:rPr lang="en-GB" dirty="0" err="1"/>
              <a:t>quam</a:t>
            </a:r>
            <a:r>
              <a:rPr lang="en-GB" dirty="0"/>
              <a:t> </a:t>
            </a:r>
            <a:r>
              <a:rPr lang="en-GB" dirty="0" err="1"/>
              <a:t>eget</a:t>
            </a:r>
            <a:r>
              <a:rPr lang="en-GB" dirty="0"/>
              <a:t> </a:t>
            </a:r>
            <a:r>
              <a:rPr lang="en-GB" dirty="0" err="1"/>
              <a:t>finibus</a:t>
            </a:r>
            <a:r>
              <a:rPr lang="en-GB" dirty="0"/>
              <a:t>. </a:t>
            </a:r>
            <a:r>
              <a:rPr lang="en-GB" dirty="0" err="1"/>
              <a:t>Nullam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 </a:t>
            </a:r>
            <a:r>
              <a:rPr lang="en-GB" dirty="0" err="1"/>
              <a:t>mattis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eget</a:t>
            </a:r>
            <a:r>
              <a:rPr lang="en-GB" dirty="0"/>
              <a:t> </a:t>
            </a:r>
            <a:r>
              <a:rPr lang="en-GB" dirty="0" err="1"/>
              <a:t>lac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luctus</a:t>
            </a:r>
            <a:r>
              <a:rPr lang="en-GB" dirty="0"/>
              <a:t> </a:t>
            </a:r>
            <a:r>
              <a:rPr lang="en-GB" dirty="0" err="1"/>
              <a:t>iaculis</a:t>
            </a:r>
            <a:r>
              <a:rPr lang="en-GB" dirty="0"/>
              <a:t> non at </a:t>
            </a:r>
            <a:r>
              <a:rPr lang="en-GB" dirty="0" err="1"/>
              <a:t>turpis</a:t>
            </a:r>
            <a:r>
              <a:rPr lang="en-GB" dirty="0"/>
              <a:t>. Nam id </a:t>
            </a:r>
            <a:r>
              <a:rPr lang="en-GB" dirty="0" err="1"/>
              <a:t>congue</a:t>
            </a:r>
            <a:r>
              <a:rPr lang="en-GB" dirty="0"/>
              <a:t> </a:t>
            </a:r>
            <a:r>
              <a:rPr lang="en-GB" dirty="0" err="1"/>
              <a:t>nibh</a:t>
            </a:r>
            <a:r>
              <a:rPr lang="en-GB" dirty="0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A81489-B96E-189C-5908-230534B5F3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83922" y="1327490"/>
            <a:ext cx="2167947" cy="830997"/>
          </a:xfrm>
        </p:spPr>
        <p:txBody>
          <a:bodyPr/>
          <a:lstStyle/>
          <a:p>
            <a:r>
              <a:rPr lang="en-NL"/>
              <a:t>€20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EC0ED00-B787-EC41-F4BE-5645716877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err="1"/>
              <a:t>fusce</a:t>
            </a:r>
            <a:r>
              <a:rPr lang="en-GB"/>
              <a:t> cursus, nisi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, eros </a:t>
            </a:r>
            <a:r>
              <a:rPr lang="en-GB" err="1"/>
              <a:t>nibh</a:t>
            </a:r>
            <a:r>
              <a:rPr lang="en-GB"/>
              <a:t> fermentum ant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5984DB8-AB77-080B-F7CB-9BF04CB12A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2167" y="1327491"/>
            <a:ext cx="2167947" cy="830997"/>
          </a:xfrm>
        </p:spPr>
        <p:txBody>
          <a:bodyPr/>
          <a:lstStyle/>
          <a:p>
            <a:r>
              <a:rPr lang="en-NL"/>
              <a:t>+1%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935845F-D1FD-44EE-EAC4-286E76E088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err="1"/>
              <a:t>estibulum</a:t>
            </a:r>
            <a:r>
              <a:rPr lang="en-GB"/>
              <a:t>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51C58F0-B789-F22E-2926-475E4ABE7C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90849" y="4077621"/>
            <a:ext cx="2167947" cy="830997"/>
          </a:xfrm>
        </p:spPr>
        <p:txBody>
          <a:bodyPr/>
          <a:lstStyle/>
          <a:p>
            <a:r>
              <a:rPr lang="en-NL"/>
              <a:t>3000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6248AB-D4FB-2CA5-5B48-BDAC0F9BDDC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err="1"/>
              <a:t>rci</a:t>
            </a:r>
            <a:r>
              <a:rPr lang="en-GB"/>
              <a:t>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 </a:t>
            </a:r>
            <a:r>
              <a:rPr lang="en-GB" err="1"/>
              <a:t>montes</a:t>
            </a:r>
            <a:endParaRPr lang="en-NL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CC4567-CE7E-5184-B468-6B6665777FB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09094" y="4077622"/>
            <a:ext cx="2167947" cy="830997"/>
          </a:xfrm>
        </p:spPr>
        <p:txBody>
          <a:bodyPr/>
          <a:lstStyle/>
          <a:p>
            <a:r>
              <a:rPr lang="en-NL" dirty="0"/>
              <a:t>55%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2AEB68E-9598-47F3-9061-BD65AC48E3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err="1"/>
              <a:t>morbi</a:t>
            </a:r>
            <a:r>
              <a:rPr lang="en-GB"/>
              <a:t>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egestas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60D4352-8DF6-F9FA-8492-6AEEF9572B8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00295" y="1320564"/>
            <a:ext cx="2167947" cy="830997"/>
          </a:xfrm>
        </p:spPr>
        <p:txBody>
          <a:bodyPr/>
          <a:lstStyle/>
          <a:p>
            <a:r>
              <a:rPr lang="en-NL"/>
              <a:t>-6%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567A6DE-5B41-33ED-6121-423ACD7A326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 err="1"/>
              <a:t>estibulum</a:t>
            </a:r>
            <a:r>
              <a:rPr lang="en-GB"/>
              <a:t>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sapien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</a:t>
            </a:r>
            <a:r>
              <a:rPr lang="en-GB" err="1"/>
              <a:t>dapibus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6013298-5BEE-3774-2735-C1B3C05C605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407222" y="4070695"/>
            <a:ext cx="2167947" cy="830997"/>
          </a:xfrm>
        </p:spPr>
        <p:txBody>
          <a:bodyPr/>
          <a:lstStyle/>
          <a:p>
            <a:r>
              <a:rPr lang="en-NL"/>
              <a:t>2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C48E441-CB1F-8087-9EEA-E9F75E5AD84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err="1"/>
              <a:t>morbi</a:t>
            </a:r>
            <a:r>
              <a:rPr lang="en-GB"/>
              <a:t> </a:t>
            </a:r>
            <a:r>
              <a:rPr lang="en-GB" err="1"/>
              <a:t>mollis</a:t>
            </a:r>
            <a:r>
              <a:rPr lang="en-GB"/>
              <a:t> semper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inibus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egesta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1360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01DDFAD9-EB93-1DE3-D63B-DC25C8B613F2}"/>
              </a:ext>
            </a:extLst>
          </p:cNvPr>
          <p:cNvSpPr/>
          <p:nvPr/>
        </p:nvSpPr>
        <p:spPr>
          <a:xfrm>
            <a:off x="0" y="0"/>
            <a:ext cx="12192000" cy="63452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15F09384-FD4A-9B77-DB73-88EDD682A2B1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pic>
        <p:nvPicPr>
          <p:cNvPr id="9" name="Picture Placeholder 8" descr="A person sitting on a table with a computer&#10;&#10;Description automatically generated">
            <a:extLst>
              <a:ext uri="{FF2B5EF4-FFF2-40B4-BE49-F238E27FC236}">
                <a16:creationId xmlns:a16="http://schemas.microsoft.com/office/drawing/2014/main" id="{2AB4569C-E264-F03A-BCBC-6F6B3EE6DD1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9902D4-5883-5AF3-BB98-56100CBD910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82204" y="1347272"/>
            <a:ext cx="2167947" cy="830997"/>
          </a:xfrm>
        </p:spPr>
        <p:txBody>
          <a:bodyPr/>
          <a:lstStyle/>
          <a:p>
            <a:r>
              <a:rPr lang="en-NL"/>
              <a:t>+4%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257592-57B0-3D2F-2EBC-3BFDB449A07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endParaRPr lang="en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CEC923-6E91-3F3A-5844-B509266336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tit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2FE2B67-4E13-7427-FB42-ABDEA8FE34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NL"/>
              <a:t>Data en afbeeld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741223B-2948-0571-B9D1-3DBF0B79AF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</a:t>
            </a:r>
            <a:r>
              <a:rPr lang="en-GB" err="1"/>
              <a:t>egestas</a:t>
            </a:r>
            <a:r>
              <a:rPr lang="en-GB"/>
              <a:t> </a:t>
            </a:r>
            <a:r>
              <a:rPr lang="en-GB" err="1"/>
              <a:t>ultrices</a:t>
            </a:r>
            <a:r>
              <a:rPr lang="en-GB"/>
              <a:t>. Ut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. </a:t>
            </a:r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Sed </a:t>
            </a:r>
            <a:r>
              <a:rPr lang="en-GB" err="1"/>
              <a:t>justo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, </a:t>
            </a:r>
            <a:r>
              <a:rPr lang="en-GB" err="1"/>
              <a:t>interdu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pharetra at, </a:t>
            </a:r>
            <a:r>
              <a:rPr lang="en-GB" err="1"/>
              <a:t>eleifend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libero. Morbi ac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</a:t>
            </a:r>
            <a:r>
              <a:rPr lang="en-GB" err="1"/>
              <a:t>egestas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in pulvinar diam. Nunc </a:t>
            </a:r>
            <a:r>
              <a:rPr lang="en-GB" err="1"/>
              <a:t>imperdiet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purus</a:t>
            </a:r>
            <a:r>
              <a:rPr lang="en-GB"/>
              <a:t> vitae </a:t>
            </a:r>
            <a:r>
              <a:rPr lang="en-GB" err="1"/>
              <a:t>finibus</a:t>
            </a:r>
            <a:r>
              <a:rPr lang="en-GB"/>
              <a:t>. Donec </a:t>
            </a:r>
            <a:r>
              <a:rPr lang="en-GB" err="1"/>
              <a:t>aliquam</a:t>
            </a:r>
            <a:r>
              <a:rPr lang="en-GB"/>
              <a:t>, </a:t>
            </a:r>
            <a:r>
              <a:rPr lang="en-GB" err="1"/>
              <a:t>neque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sodales</a:t>
            </a:r>
            <a:r>
              <a:rPr lang="en-GB"/>
              <a:t>,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cursus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laoreet</a:t>
            </a:r>
            <a:r>
              <a:rPr lang="en-GB"/>
              <a:t> </a:t>
            </a:r>
            <a:r>
              <a:rPr lang="en-GB" err="1"/>
              <a:t>scelerisque</a:t>
            </a:r>
            <a:r>
              <a:rPr lang="en-GB"/>
              <a:t> </a:t>
            </a:r>
            <a:r>
              <a:rPr lang="en-GB" err="1"/>
              <a:t>tellus</a:t>
            </a:r>
            <a:r>
              <a:rPr lang="en-GB"/>
              <a:t> mi a </a:t>
            </a:r>
            <a:r>
              <a:rPr lang="en-GB" err="1"/>
              <a:t>nibh.Lorem</a:t>
            </a:r>
            <a:r>
              <a:rPr lang="en-GB"/>
              <a:t>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posuere</a:t>
            </a:r>
            <a:r>
              <a:rPr lang="en-GB"/>
              <a:t> </a:t>
            </a:r>
            <a:r>
              <a:rPr lang="en-GB" err="1"/>
              <a:t>egestas</a:t>
            </a:r>
            <a:r>
              <a:rPr lang="en-GB"/>
              <a:t> </a:t>
            </a:r>
            <a:r>
              <a:rPr lang="en-GB" err="1"/>
              <a:t>ultrices</a:t>
            </a:r>
            <a:r>
              <a:rPr lang="en-GB"/>
              <a:t>. Ut </a:t>
            </a:r>
            <a:r>
              <a:rPr lang="en-GB" err="1"/>
              <a:t>congue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justo</a:t>
            </a:r>
            <a:r>
              <a:rPr lang="en-GB"/>
              <a:t>. </a:t>
            </a:r>
            <a:r>
              <a:rPr lang="en-GB" err="1"/>
              <a:t>Suspendisse</a:t>
            </a:r>
            <a:r>
              <a:rPr lang="en-GB"/>
              <a:t> </a:t>
            </a:r>
            <a:r>
              <a:rPr lang="en-GB" err="1"/>
              <a:t>potenti</a:t>
            </a:r>
            <a:r>
              <a:rPr lang="en-GB"/>
              <a:t>. 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183312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9BCD82-CF32-8F0E-0710-B11571B792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1.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C5594B-8043-1E8C-CB7E-FDAB2FD9AC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NL"/>
              <a:t>Grafieken </a:t>
            </a:r>
            <a:br>
              <a:rPr lang="en-NL"/>
            </a:br>
            <a:r>
              <a:rPr lang="en-NL"/>
              <a:t>en tabellen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7578791F-4E05-F9D5-AEFC-84133DAC9D13}"/>
              </a:ext>
            </a:extLst>
          </p:cNvPr>
          <p:cNvSpPr/>
          <p:nvPr/>
        </p:nvSpPr>
        <p:spPr>
          <a:xfrm>
            <a:off x="523731" y="5672216"/>
            <a:ext cx="1651298" cy="674703"/>
          </a:xfrm>
          <a:prstGeom prst="rect">
            <a:avLst/>
          </a:prstGeom>
          <a:solidFill>
            <a:srgbClr val="171A6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5058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90C32244-B5D6-5938-2A06-33EB66F108A9}"/>
              </a:ext>
            </a:extLst>
          </p:cNvPr>
          <p:cNvSpPr/>
          <p:nvPr/>
        </p:nvSpPr>
        <p:spPr>
          <a:xfrm>
            <a:off x="0" y="0"/>
            <a:ext cx="12192000" cy="6357428"/>
          </a:xfrm>
          <a:prstGeom prst="rect">
            <a:avLst/>
          </a:prstGeom>
          <a:solidFill>
            <a:srgbClr val="61173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Rounded Rectangle 1">
            <a:extLst>
              <a:ext uri="{FF2B5EF4-FFF2-40B4-BE49-F238E27FC236}">
                <a16:creationId xmlns:a16="http://schemas.microsoft.com/office/drawing/2014/main" id="{A26409FA-54A8-E056-769E-9503C6DA86AF}"/>
              </a:ext>
            </a:extLst>
          </p:cNvPr>
          <p:cNvSpPr/>
          <p:nvPr/>
        </p:nvSpPr>
        <p:spPr>
          <a:xfrm>
            <a:off x="345782" y="391465"/>
            <a:ext cx="11440198" cy="5944697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Rounded Rectangle 1">
            <a:extLst>
              <a:ext uri="{FF2B5EF4-FFF2-40B4-BE49-F238E27FC236}">
                <a16:creationId xmlns:a16="http://schemas.microsoft.com/office/drawing/2014/main" id="{533B59A7-6DBD-3240-5FB6-4A139E177AF1}"/>
              </a:ext>
            </a:extLst>
          </p:cNvPr>
          <p:cNvSpPr/>
          <p:nvPr/>
        </p:nvSpPr>
        <p:spPr>
          <a:xfrm>
            <a:off x="3875315" y="679383"/>
            <a:ext cx="7537000" cy="1271702"/>
          </a:xfrm>
          <a:prstGeom prst="roundRect">
            <a:avLst>
              <a:gd name="adj" fmla="val 2779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42A64C-0907-40D2-0D23-DFE8002794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31284" y="1091800"/>
            <a:ext cx="3055946" cy="1754326"/>
          </a:xfrm>
        </p:spPr>
        <p:txBody>
          <a:bodyPr/>
          <a:lstStyle/>
          <a:p>
            <a:r>
              <a:rPr lang="nl-NL" dirty="0">
                <a:solidFill>
                  <a:schemeClr val="accent1"/>
                </a:solidFill>
              </a:rPr>
              <a:t>Wat onze relaties zeggen…</a:t>
            </a:r>
            <a:endParaRPr lang="en-NL">
              <a:solidFill>
                <a:schemeClr val="accent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FC5D099-3562-E7D1-1565-B8CBC093B4C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190049" y="1204143"/>
            <a:ext cx="5956921" cy="712199"/>
          </a:xfrm>
        </p:spPr>
        <p:txBody>
          <a:bodyPr/>
          <a:lstStyle/>
          <a:p>
            <a:r>
              <a:rPr lang="en-GB" sz="1050" dirty="0">
                <a:solidFill>
                  <a:schemeClr val="accent2"/>
                </a:solidFill>
              </a:rPr>
              <a:t>'</a:t>
            </a:r>
            <a:r>
              <a:rPr lang="en-GB" sz="1050" dirty="0" err="1">
                <a:solidFill>
                  <a:schemeClr val="accent2"/>
                </a:solidFill>
              </a:rPr>
              <a:t>Ik</a:t>
            </a:r>
            <a:r>
              <a:rPr lang="en-GB" sz="1050" dirty="0">
                <a:solidFill>
                  <a:schemeClr val="accent2"/>
                </a:solidFill>
              </a:rPr>
              <a:t> </a:t>
            </a:r>
            <a:r>
              <a:rPr lang="en-GB" sz="1050" dirty="0" err="1">
                <a:solidFill>
                  <a:schemeClr val="accent2"/>
                </a:solidFill>
              </a:rPr>
              <a:t>wil</a:t>
            </a:r>
            <a:r>
              <a:rPr lang="en-GB" sz="1050" dirty="0">
                <a:solidFill>
                  <a:schemeClr val="accent2"/>
                </a:solidFill>
              </a:rPr>
              <a:t> </a:t>
            </a:r>
            <a:r>
              <a:rPr lang="en-GB" sz="1050" dirty="0" err="1">
                <a:solidFill>
                  <a:schemeClr val="accent2"/>
                </a:solidFill>
              </a:rPr>
              <a:t>een</a:t>
            </a:r>
            <a:r>
              <a:rPr lang="en-GB" sz="1050" dirty="0">
                <a:solidFill>
                  <a:schemeClr val="accent2"/>
                </a:solidFill>
              </a:rPr>
              <a:t> </a:t>
            </a:r>
            <a:r>
              <a:rPr lang="en-GB" sz="1050" dirty="0" err="1">
                <a:solidFill>
                  <a:schemeClr val="accent2"/>
                </a:solidFill>
              </a:rPr>
              <a:t>werkplek</a:t>
            </a:r>
            <a:r>
              <a:rPr lang="en-GB" sz="1050" dirty="0">
                <a:solidFill>
                  <a:schemeClr val="accent2"/>
                </a:solidFill>
              </a:rPr>
              <a:t> die het </a:t>
            </a:r>
            <a:r>
              <a:rPr lang="en-GB" sz="1050" dirty="0" err="1">
                <a:solidFill>
                  <a:schemeClr val="accent2"/>
                </a:solidFill>
              </a:rPr>
              <a:t>altijd</a:t>
            </a:r>
            <a:r>
              <a:rPr lang="en-GB" sz="1050" dirty="0">
                <a:solidFill>
                  <a:schemeClr val="accent2"/>
                </a:solidFill>
              </a:rPr>
              <a:t> </a:t>
            </a:r>
            <a:r>
              <a:rPr lang="en-GB" sz="1050" dirty="0" err="1">
                <a:solidFill>
                  <a:schemeClr val="accent2"/>
                </a:solidFill>
              </a:rPr>
              <a:t>en</a:t>
            </a:r>
            <a:r>
              <a:rPr lang="en-GB" sz="1050" dirty="0">
                <a:solidFill>
                  <a:schemeClr val="accent2"/>
                </a:solidFill>
              </a:rPr>
              <a:t> </a:t>
            </a:r>
            <a:r>
              <a:rPr lang="en-GB" sz="1050" dirty="0" err="1">
                <a:solidFill>
                  <a:schemeClr val="accent2"/>
                </a:solidFill>
              </a:rPr>
              <a:t>overal</a:t>
            </a:r>
            <a:r>
              <a:rPr lang="en-GB" sz="1050" dirty="0">
                <a:solidFill>
                  <a:schemeClr val="accent2"/>
                </a:solidFill>
              </a:rPr>
              <a:t> </a:t>
            </a:r>
            <a:r>
              <a:rPr lang="en-GB" sz="1050" dirty="0" err="1">
                <a:solidFill>
                  <a:schemeClr val="accent2"/>
                </a:solidFill>
              </a:rPr>
              <a:t>doet</a:t>
            </a:r>
            <a:r>
              <a:rPr lang="en-GB" sz="1050" dirty="0">
                <a:solidFill>
                  <a:schemeClr val="accent2"/>
                </a:solidFill>
              </a:rPr>
              <a:t>. </a:t>
            </a:r>
            <a:br>
              <a:rPr lang="en-GB" sz="1050" dirty="0">
                <a:solidFill>
                  <a:schemeClr val="accent2"/>
                </a:solidFill>
              </a:rPr>
            </a:br>
            <a:r>
              <a:rPr lang="en-GB" sz="1050" dirty="0">
                <a:solidFill>
                  <a:schemeClr val="accent2"/>
                </a:solidFill>
              </a:rPr>
              <a:t>En </a:t>
            </a:r>
            <a:r>
              <a:rPr lang="en-GB" sz="1050" dirty="0" err="1">
                <a:solidFill>
                  <a:schemeClr val="accent2"/>
                </a:solidFill>
              </a:rPr>
              <a:t>mocht</a:t>
            </a:r>
            <a:r>
              <a:rPr lang="en-GB" sz="1050" dirty="0">
                <a:solidFill>
                  <a:schemeClr val="accent2"/>
                </a:solidFill>
              </a:rPr>
              <a:t> </a:t>
            </a:r>
            <a:r>
              <a:rPr lang="en-GB" sz="1050" dirty="0" err="1">
                <a:solidFill>
                  <a:schemeClr val="accent2"/>
                </a:solidFill>
              </a:rPr>
              <a:t>ik</a:t>
            </a:r>
            <a:r>
              <a:rPr lang="en-GB" sz="1050" dirty="0">
                <a:solidFill>
                  <a:schemeClr val="accent2"/>
                </a:solidFill>
              </a:rPr>
              <a:t> </a:t>
            </a:r>
            <a:r>
              <a:rPr lang="en-GB" sz="1050" dirty="0" err="1">
                <a:solidFill>
                  <a:schemeClr val="accent2"/>
                </a:solidFill>
              </a:rPr>
              <a:t>een</a:t>
            </a:r>
            <a:r>
              <a:rPr lang="en-GB" sz="1050" dirty="0">
                <a:solidFill>
                  <a:schemeClr val="accent2"/>
                </a:solidFill>
              </a:rPr>
              <a:t> </a:t>
            </a:r>
            <a:r>
              <a:rPr lang="en-GB" sz="1050" dirty="0" err="1">
                <a:solidFill>
                  <a:schemeClr val="accent2"/>
                </a:solidFill>
              </a:rPr>
              <a:t>vraag</a:t>
            </a:r>
            <a:r>
              <a:rPr lang="en-GB" sz="1050" dirty="0">
                <a:solidFill>
                  <a:schemeClr val="accent2"/>
                </a:solidFill>
              </a:rPr>
              <a:t> of </a:t>
            </a:r>
            <a:r>
              <a:rPr lang="en-GB" sz="1050" dirty="0" err="1">
                <a:solidFill>
                  <a:schemeClr val="accent2"/>
                </a:solidFill>
              </a:rPr>
              <a:t>probleem</a:t>
            </a:r>
            <a:r>
              <a:rPr lang="en-GB" sz="1050" dirty="0">
                <a:solidFill>
                  <a:schemeClr val="accent2"/>
                </a:solidFill>
              </a:rPr>
              <a:t> </a:t>
            </a:r>
            <a:r>
              <a:rPr lang="en-GB" sz="1050" dirty="0" err="1">
                <a:solidFill>
                  <a:schemeClr val="accent2"/>
                </a:solidFill>
              </a:rPr>
              <a:t>hebben</a:t>
            </a:r>
            <a:r>
              <a:rPr lang="en-GB" sz="1050" dirty="0">
                <a:solidFill>
                  <a:schemeClr val="accent2"/>
                </a:solidFill>
              </a:rPr>
              <a:t> </a:t>
            </a:r>
            <a:r>
              <a:rPr lang="en-GB" sz="1050" dirty="0" err="1">
                <a:solidFill>
                  <a:schemeClr val="accent2"/>
                </a:solidFill>
              </a:rPr>
              <a:t>wil</a:t>
            </a:r>
            <a:r>
              <a:rPr lang="en-GB" sz="1050" dirty="0">
                <a:solidFill>
                  <a:schemeClr val="accent2"/>
                </a:solidFill>
              </a:rPr>
              <a:t> </a:t>
            </a:r>
            <a:r>
              <a:rPr lang="en-GB" sz="1050" dirty="0" err="1">
                <a:solidFill>
                  <a:schemeClr val="accent2"/>
                </a:solidFill>
              </a:rPr>
              <a:t>ik</a:t>
            </a:r>
            <a:r>
              <a:rPr lang="en-GB" sz="1050" dirty="0">
                <a:solidFill>
                  <a:schemeClr val="accent2"/>
                </a:solidFill>
              </a:rPr>
              <a:t> direct </a:t>
            </a:r>
            <a:r>
              <a:rPr lang="en-GB" sz="1050" dirty="0" err="1">
                <a:solidFill>
                  <a:schemeClr val="accent2"/>
                </a:solidFill>
              </a:rPr>
              <a:t>geholpen</a:t>
            </a:r>
            <a:r>
              <a:rPr lang="en-GB" sz="1050" dirty="0">
                <a:solidFill>
                  <a:schemeClr val="accent2"/>
                </a:solidFill>
              </a:rPr>
              <a:t> </a:t>
            </a:r>
            <a:r>
              <a:rPr lang="en-GB" sz="1050" dirty="0" err="1">
                <a:solidFill>
                  <a:schemeClr val="accent2"/>
                </a:solidFill>
              </a:rPr>
              <a:t>worden</a:t>
            </a:r>
            <a:r>
              <a:rPr lang="en-GB" sz="1050" dirty="0">
                <a:solidFill>
                  <a:schemeClr val="accent2"/>
                </a:solidFill>
              </a:rPr>
              <a:t>!'</a:t>
            </a:r>
          </a:p>
        </p:txBody>
      </p:sp>
      <p:sp>
        <p:nvSpPr>
          <p:cNvPr id="21" name="Ovaal 20">
            <a:extLst>
              <a:ext uri="{FF2B5EF4-FFF2-40B4-BE49-F238E27FC236}">
                <a16:creationId xmlns:a16="http://schemas.microsoft.com/office/drawing/2014/main" id="{78CCDE2D-EF31-E427-30D9-478BEC611662}"/>
              </a:ext>
            </a:extLst>
          </p:cNvPr>
          <p:cNvSpPr/>
          <p:nvPr/>
        </p:nvSpPr>
        <p:spPr>
          <a:xfrm>
            <a:off x="4088679" y="848324"/>
            <a:ext cx="925200" cy="918721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837473B0-CC2E-450A-ABE3-18F120FF3D39}">
                  <a1611:picAttrSrcUrl xmlns:a1611="http://schemas.microsoft.com/office/drawing/2016/11/main" r:id="rId3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ounded Rectangle 1">
            <a:extLst>
              <a:ext uri="{FF2B5EF4-FFF2-40B4-BE49-F238E27FC236}">
                <a16:creationId xmlns:a16="http://schemas.microsoft.com/office/drawing/2014/main" id="{B7B8F462-417D-A6AE-8BFF-09647D788D01}"/>
              </a:ext>
            </a:extLst>
          </p:cNvPr>
          <p:cNvSpPr/>
          <p:nvPr/>
        </p:nvSpPr>
        <p:spPr>
          <a:xfrm>
            <a:off x="3875315" y="2046177"/>
            <a:ext cx="7537000" cy="1271702"/>
          </a:xfrm>
          <a:prstGeom prst="roundRect">
            <a:avLst>
              <a:gd name="adj" fmla="val 2779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E447658A-5B1F-334C-0FCC-75FBFC89DE5D}"/>
              </a:ext>
            </a:extLst>
          </p:cNvPr>
          <p:cNvSpPr txBox="1">
            <a:spLocks/>
          </p:cNvSpPr>
          <p:nvPr/>
        </p:nvSpPr>
        <p:spPr>
          <a:xfrm>
            <a:off x="5190049" y="2570937"/>
            <a:ext cx="5956921" cy="712199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b="0" i="0" kern="120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'Ons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bedrijf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is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zeer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dynamisch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.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</a:b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Vandaar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da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het van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groo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belang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is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da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we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schaalbare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ICT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hebb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teg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voorspelbare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kost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.'</a:t>
            </a:r>
          </a:p>
        </p:txBody>
      </p:sp>
      <p:sp>
        <p:nvSpPr>
          <p:cNvPr id="26" name="Rounded Rectangle 1">
            <a:extLst>
              <a:ext uri="{FF2B5EF4-FFF2-40B4-BE49-F238E27FC236}">
                <a16:creationId xmlns:a16="http://schemas.microsoft.com/office/drawing/2014/main" id="{E20E89E1-6F54-C596-E766-3924C9D88D44}"/>
              </a:ext>
            </a:extLst>
          </p:cNvPr>
          <p:cNvSpPr/>
          <p:nvPr/>
        </p:nvSpPr>
        <p:spPr>
          <a:xfrm>
            <a:off x="3875315" y="3412971"/>
            <a:ext cx="7537000" cy="1271702"/>
          </a:xfrm>
          <a:prstGeom prst="roundRect">
            <a:avLst>
              <a:gd name="adj" fmla="val 2779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5B193D97-C21B-1157-94E0-7636F5082240}"/>
              </a:ext>
            </a:extLst>
          </p:cNvPr>
          <p:cNvSpPr txBox="1">
            <a:spLocks/>
          </p:cNvSpPr>
          <p:nvPr/>
        </p:nvSpPr>
        <p:spPr>
          <a:xfrm>
            <a:off x="5190049" y="3937731"/>
            <a:ext cx="5956921" cy="712199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b="0" i="0" kern="120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'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Wij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beschikk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over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zeer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privacygevoelige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data van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onze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cliënt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.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Hoe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zorg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ik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ervoor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da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deze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veilig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is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blijf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?'</a:t>
            </a:r>
          </a:p>
        </p:txBody>
      </p:sp>
      <p:sp>
        <p:nvSpPr>
          <p:cNvPr id="37" name="Rounded Rectangle 1">
            <a:extLst>
              <a:ext uri="{FF2B5EF4-FFF2-40B4-BE49-F238E27FC236}">
                <a16:creationId xmlns:a16="http://schemas.microsoft.com/office/drawing/2014/main" id="{9C81A60F-07B6-9130-9AF3-B917E1CD1B73}"/>
              </a:ext>
            </a:extLst>
          </p:cNvPr>
          <p:cNvSpPr/>
          <p:nvPr/>
        </p:nvSpPr>
        <p:spPr>
          <a:xfrm>
            <a:off x="3875315" y="4779765"/>
            <a:ext cx="7537000" cy="1271702"/>
          </a:xfrm>
          <a:prstGeom prst="roundRect">
            <a:avLst>
              <a:gd name="adj" fmla="val 2779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7616ECCA-F46C-B72C-EC6D-B35304B54C82}"/>
              </a:ext>
            </a:extLst>
          </p:cNvPr>
          <p:cNvSpPr txBox="1">
            <a:spLocks/>
          </p:cNvSpPr>
          <p:nvPr/>
        </p:nvSpPr>
        <p:spPr>
          <a:xfrm>
            <a:off x="5190049" y="5304525"/>
            <a:ext cx="5956921" cy="712199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b="0" i="0" kern="120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'ICT is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voor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ons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al gas, water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lich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. We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kunn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absoluu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nie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zonder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.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Hoe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zorg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we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voor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100%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beschikbaarheid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optimale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performance? '</a:t>
            </a:r>
          </a:p>
        </p:txBody>
      </p:sp>
      <p:sp>
        <p:nvSpPr>
          <p:cNvPr id="27" name="Ovaal 10">
            <a:extLst>
              <a:ext uri="{FF2B5EF4-FFF2-40B4-BE49-F238E27FC236}">
                <a16:creationId xmlns:a16="http://schemas.microsoft.com/office/drawing/2014/main" id="{AFF0AF7F-E56B-A4A7-1F99-B409CABD11B4}"/>
              </a:ext>
            </a:extLst>
          </p:cNvPr>
          <p:cNvSpPr>
            <a:spLocks noChangeAspect="1"/>
          </p:cNvSpPr>
          <p:nvPr/>
        </p:nvSpPr>
        <p:spPr>
          <a:xfrm>
            <a:off x="4088679" y="2219428"/>
            <a:ext cx="925200" cy="925200"/>
          </a:xfrm>
          <a:prstGeom prst="ellipse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Ovaal 10">
            <a:extLst>
              <a:ext uri="{FF2B5EF4-FFF2-40B4-BE49-F238E27FC236}">
                <a16:creationId xmlns:a16="http://schemas.microsoft.com/office/drawing/2014/main" id="{1F159DF2-92E0-3821-A980-F6634EC25C08}"/>
              </a:ext>
            </a:extLst>
          </p:cNvPr>
          <p:cNvSpPr>
            <a:spLocks noChangeAspect="1"/>
          </p:cNvSpPr>
          <p:nvPr/>
        </p:nvSpPr>
        <p:spPr>
          <a:xfrm>
            <a:off x="4088679" y="4953016"/>
            <a:ext cx="925200" cy="925200"/>
          </a:xfrm>
          <a:prstGeom prst="ellipse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Tekstvak 45">
            <a:extLst>
              <a:ext uri="{FF2B5EF4-FFF2-40B4-BE49-F238E27FC236}">
                <a16:creationId xmlns:a16="http://schemas.microsoft.com/office/drawing/2014/main" id="{794D7EE3-7851-ECBE-30D3-85CF4A53ECC7}"/>
              </a:ext>
            </a:extLst>
          </p:cNvPr>
          <p:cNvSpPr txBox="1"/>
          <p:nvPr/>
        </p:nvSpPr>
        <p:spPr>
          <a:xfrm>
            <a:off x="5190048" y="933761"/>
            <a:ext cx="23229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Mobiele werker</a:t>
            </a:r>
          </a:p>
        </p:txBody>
      </p:sp>
      <p:sp>
        <p:nvSpPr>
          <p:cNvPr id="47" name="Tekstvak 46">
            <a:extLst>
              <a:ext uri="{FF2B5EF4-FFF2-40B4-BE49-F238E27FC236}">
                <a16:creationId xmlns:a16="http://schemas.microsoft.com/office/drawing/2014/main" id="{FEBA5AF4-0D29-58D6-3A18-B724D8B92742}"/>
              </a:ext>
            </a:extLst>
          </p:cNvPr>
          <p:cNvSpPr txBox="1"/>
          <p:nvPr/>
        </p:nvSpPr>
        <p:spPr>
          <a:xfrm>
            <a:off x="5190049" y="2288428"/>
            <a:ext cx="24895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Finance manager</a:t>
            </a:r>
          </a:p>
        </p:txBody>
      </p:sp>
      <p:sp>
        <p:nvSpPr>
          <p:cNvPr id="48" name="Tekstvak 47">
            <a:extLst>
              <a:ext uri="{FF2B5EF4-FFF2-40B4-BE49-F238E27FC236}">
                <a16:creationId xmlns:a16="http://schemas.microsoft.com/office/drawing/2014/main" id="{EE5D2515-FAD2-1B14-EFC2-AD93CA2193BA}"/>
              </a:ext>
            </a:extLst>
          </p:cNvPr>
          <p:cNvSpPr txBox="1"/>
          <p:nvPr/>
        </p:nvSpPr>
        <p:spPr>
          <a:xfrm>
            <a:off x="5190048" y="3651561"/>
            <a:ext cx="27093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Zorgverlener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BA61E37D-C9E5-8242-0FD9-992C7B149F44}"/>
              </a:ext>
            </a:extLst>
          </p:cNvPr>
          <p:cNvSpPr txBox="1"/>
          <p:nvPr/>
        </p:nvSpPr>
        <p:spPr>
          <a:xfrm>
            <a:off x="5190049" y="5014694"/>
            <a:ext cx="2954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Plantmanager</a:t>
            </a:r>
          </a:p>
        </p:txBody>
      </p:sp>
      <p:pic>
        <p:nvPicPr>
          <p:cNvPr id="32" name="Afbeelding 31" descr="Afbeelding met kleding, persoon, overdekt, Witte jas&#10;&#10;Automatisch gegenereerde beschrijving">
            <a:extLst>
              <a:ext uri="{FF2B5EF4-FFF2-40B4-BE49-F238E27FC236}">
                <a16:creationId xmlns:a16="http://schemas.microsoft.com/office/drawing/2014/main" id="{5494870E-8E91-0295-E0FE-52B9D9891F8C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88679" y="3586222"/>
            <a:ext cx="925200" cy="9252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834777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>
            <a:extLst>
              <a:ext uri="{FF2B5EF4-FFF2-40B4-BE49-F238E27FC236}">
                <a16:creationId xmlns:a16="http://schemas.microsoft.com/office/drawing/2014/main" id="{B99C2BF4-F55C-6007-38DC-5D6342267B97}"/>
              </a:ext>
            </a:extLst>
          </p:cNvPr>
          <p:cNvSpPr/>
          <p:nvPr/>
        </p:nvSpPr>
        <p:spPr>
          <a:xfrm>
            <a:off x="0" y="-138223"/>
            <a:ext cx="12192000" cy="6485018"/>
          </a:xfrm>
          <a:prstGeom prst="rect">
            <a:avLst/>
          </a:prstGeom>
          <a:solidFill>
            <a:srgbClr val="171A6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5" name="Rounded Rectangle 1">
            <a:extLst>
              <a:ext uri="{FF2B5EF4-FFF2-40B4-BE49-F238E27FC236}">
                <a16:creationId xmlns:a16="http://schemas.microsoft.com/office/drawing/2014/main" id="{D2E28430-9A48-FB29-26C2-D715B30FCD02}"/>
              </a:ext>
            </a:extLst>
          </p:cNvPr>
          <p:cNvSpPr/>
          <p:nvPr/>
        </p:nvSpPr>
        <p:spPr>
          <a:xfrm>
            <a:off x="386499" y="391465"/>
            <a:ext cx="11365418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E3F39D-85B6-1E89-C6A7-84D09C20D9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ti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0D1F20-8736-1D8F-43E3-FBAA5B1BF4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NL"/>
              <a:t>Grafie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E9D0B-3419-A4F3-C9E8-B08D3AC34A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Mauris</a:t>
            </a:r>
            <a:r>
              <a:rPr lang="en-GB"/>
              <a:t> </a:t>
            </a:r>
            <a:r>
              <a:rPr lang="en-GB" err="1"/>
              <a:t>ultricies</a:t>
            </a:r>
            <a:r>
              <a:rPr lang="en-GB"/>
              <a:t>, </a:t>
            </a:r>
            <a:r>
              <a:rPr lang="en-GB" err="1"/>
              <a:t>metus</a:t>
            </a:r>
            <a:r>
              <a:rPr lang="en-GB"/>
              <a:t> a lacinia convallis,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orci</a:t>
            </a:r>
            <a:r>
              <a:rPr lang="en-GB"/>
              <a:t> </a:t>
            </a:r>
            <a:r>
              <a:rPr lang="en-GB" err="1"/>
              <a:t>dapibus</a:t>
            </a:r>
            <a:r>
              <a:rPr lang="en-GB"/>
              <a:t> </a:t>
            </a:r>
            <a:r>
              <a:rPr lang="en-GB" err="1"/>
              <a:t>felis</a:t>
            </a:r>
            <a:r>
              <a:rPr lang="en-GB"/>
              <a:t>,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igula. In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turpis</a:t>
            </a:r>
            <a:r>
              <a:rPr lang="en-GB"/>
              <a:t>, porta ac </a:t>
            </a:r>
            <a:r>
              <a:rPr lang="en-GB" err="1"/>
              <a:t>variu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tincidunt</a:t>
            </a:r>
            <a:r>
              <a:rPr lang="en-GB"/>
              <a:t> at </a:t>
            </a:r>
            <a:r>
              <a:rPr lang="en-GB" err="1"/>
              <a:t>purus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Cras non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condimentum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id </a:t>
            </a:r>
            <a:r>
              <a:rPr lang="en-GB" err="1"/>
              <a:t>nunc</a:t>
            </a:r>
            <a:r>
              <a:rPr lang="en-GB"/>
              <a:t> pulvinar </a:t>
            </a:r>
            <a:r>
              <a:rPr lang="en-GB" err="1"/>
              <a:t>consequat</a:t>
            </a:r>
            <a:r>
              <a:rPr lang="en-GB"/>
              <a:t> et a </a:t>
            </a:r>
            <a:r>
              <a:rPr lang="en-GB" err="1"/>
              <a:t>massa</a:t>
            </a:r>
            <a:r>
              <a:rPr lang="en-GB"/>
              <a:t>. </a:t>
            </a:r>
            <a:r>
              <a:rPr lang="en-GB" err="1"/>
              <a:t>Vivamus</a:t>
            </a:r>
            <a:r>
              <a:rPr lang="en-GB"/>
              <a:t> </a:t>
            </a:r>
            <a:r>
              <a:rPr lang="en-GB" err="1"/>
              <a:t>imperdiet</a:t>
            </a:r>
            <a:r>
              <a:rPr lang="en-GB"/>
              <a:t> </a:t>
            </a:r>
            <a:r>
              <a:rPr lang="en-GB" err="1"/>
              <a:t>feli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felis</a:t>
            </a:r>
            <a:r>
              <a:rPr lang="en-GB"/>
              <a:t> </a:t>
            </a:r>
            <a:r>
              <a:rPr lang="en-GB" err="1"/>
              <a:t>eleifend</a:t>
            </a:r>
            <a:r>
              <a:rPr lang="en-GB"/>
              <a:t>,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iaculis</a:t>
            </a:r>
            <a:r>
              <a:rPr lang="en-GB"/>
              <a:t> ligula pulvinar. </a:t>
            </a:r>
            <a:r>
              <a:rPr lang="en-GB" err="1"/>
              <a:t>Etiam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rutrum</a:t>
            </a:r>
            <a:r>
              <a:rPr lang="en-GB"/>
              <a:t> </a:t>
            </a:r>
            <a:r>
              <a:rPr lang="en-GB" err="1"/>
              <a:t>leo</a:t>
            </a:r>
            <a:r>
              <a:rPr lang="en-GB"/>
              <a:t> id </a:t>
            </a:r>
            <a:r>
              <a:rPr lang="en-GB" err="1"/>
              <a:t>ultrices</a:t>
            </a:r>
            <a:r>
              <a:rPr lang="en-GB"/>
              <a:t>.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ligula </a:t>
            </a:r>
            <a:r>
              <a:rPr lang="en-GB" err="1"/>
              <a:t>ut</a:t>
            </a:r>
            <a:r>
              <a:rPr lang="en-GB"/>
              <a:t> eros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vulputate</a:t>
            </a:r>
            <a:r>
              <a:rPr lang="en-GB"/>
              <a:t>. Maecenas id </a:t>
            </a:r>
            <a:r>
              <a:rPr lang="en-GB" err="1"/>
              <a:t>nibh</a:t>
            </a:r>
            <a:r>
              <a:rPr lang="en-GB"/>
              <a:t> at </a:t>
            </a:r>
            <a:r>
              <a:rPr lang="en-GB" err="1"/>
              <a:t>leo</a:t>
            </a:r>
            <a:r>
              <a:rPr lang="en-GB"/>
              <a:t>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.</a:t>
            </a:r>
            <a:endParaRPr lang="en-NL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81BC236-095C-608C-2144-D7A9245B95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NL"/>
              <a:t>+2%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A3F3C9-D520-638A-F98B-5F6DE7CDC3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endParaRPr lang="en-NL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B712C4B-D640-064B-497E-E2A66C9EC34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-600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20757F0-9F46-70AF-72B9-07C2B5A034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endParaRPr lang="en-NL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14080188-5644-1430-6EA9-679364C78540}"/>
              </a:ext>
            </a:extLst>
          </p:cNvPr>
          <p:cNvSpPr/>
          <p:nvPr/>
        </p:nvSpPr>
        <p:spPr>
          <a:xfrm>
            <a:off x="4511676" y="630620"/>
            <a:ext cx="7056436" cy="5606667"/>
          </a:xfrm>
          <a:prstGeom prst="roundRect">
            <a:avLst>
              <a:gd name="adj" fmla="val 1540"/>
            </a:avLst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749DBB3-B2F6-23E9-A0C8-D04DA87785AF}"/>
              </a:ext>
            </a:extLst>
          </p:cNvPr>
          <p:cNvGraphicFramePr/>
          <p:nvPr/>
        </p:nvGraphicFramePr>
        <p:xfrm>
          <a:off x="4973970" y="1146170"/>
          <a:ext cx="5925499" cy="4565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35361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51259065-6CC5-3F9C-1689-5D7614355146}"/>
              </a:ext>
            </a:extLst>
          </p:cNvPr>
          <p:cNvSpPr/>
          <p:nvPr/>
        </p:nvSpPr>
        <p:spPr>
          <a:xfrm>
            <a:off x="0" y="0"/>
            <a:ext cx="12192000" cy="6336162"/>
          </a:xfrm>
          <a:prstGeom prst="rect">
            <a:avLst/>
          </a:prstGeom>
          <a:solidFill>
            <a:srgbClr val="171A6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noFill/>
            </a:endParaRPr>
          </a:p>
        </p:txBody>
      </p:sp>
      <p:sp>
        <p:nvSpPr>
          <p:cNvPr id="12" name="Rounded Rectangle 1">
            <a:extLst>
              <a:ext uri="{FF2B5EF4-FFF2-40B4-BE49-F238E27FC236}">
                <a16:creationId xmlns:a16="http://schemas.microsoft.com/office/drawing/2014/main" id="{CB368DA6-6817-0163-4350-02D026E87888}"/>
              </a:ext>
            </a:extLst>
          </p:cNvPr>
          <p:cNvSpPr/>
          <p:nvPr/>
        </p:nvSpPr>
        <p:spPr>
          <a:xfrm>
            <a:off x="386499" y="391465"/>
            <a:ext cx="11365418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noFill/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F085836B-D1E6-D330-7C39-71DFA737E7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tit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DDAF882-8619-A5BB-D7F9-D9981307D2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NL" dirty="0"/>
              <a:t>Tab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12B6A8-6D7D-C4AC-6D69-945D33E9D2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NL"/>
              <a:t>+103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1810D1E-A863-DA2D-5494-3A1F28DD28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endParaRPr lang="en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DCF5402-2EF7-5254-CF2A-1E43FCC5D2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NL"/>
              <a:t>-26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E8AC59F-7282-E3A2-506D-D12A98EE3B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endParaRPr lang="en-NL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0F7A9C5-689E-3CB5-C0D1-F7BFC5A084A9}"/>
              </a:ext>
            </a:extLst>
          </p:cNvPr>
          <p:cNvGraphicFramePr>
            <a:graphicFrameLocks noGrp="1"/>
          </p:cNvGraphicFramePr>
          <p:nvPr/>
        </p:nvGraphicFramePr>
        <p:xfrm>
          <a:off x="857152" y="2311105"/>
          <a:ext cx="10414229" cy="360233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73771">
                  <a:extLst>
                    <a:ext uri="{9D8B030D-6E8A-4147-A177-3AD203B41FA5}">
                      <a16:colId xmlns:a16="http://schemas.microsoft.com/office/drawing/2014/main" val="2436984948"/>
                    </a:ext>
                  </a:extLst>
                </a:gridCol>
                <a:gridCol w="6213873">
                  <a:extLst>
                    <a:ext uri="{9D8B030D-6E8A-4147-A177-3AD203B41FA5}">
                      <a16:colId xmlns:a16="http://schemas.microsoft.com/office/drawing/2014/main" val="3661386776"/>
                    </a:ext>
                  </a:extLst>
                </a:gridCol>
                <a:gridCol w="1654922">
                  <a:extLst>
                    <a:ext uri="{9D8B030D-6E8A-4147-A177-3AD203B41FA5}">
                      <a16:colId xmlns:a16="http://schemas.microsoft.com/office/drawing/2014/main" val="4055430411"/>
                    </a:ext>
                  </a:extLst>
                </a:gridCol>
                <a:gridCol w="1078764">
                  <a:extLst>
                    <a:ext uri="{9D8B030D-6E8A-4147-A177-3AD203B41FA5}">
                      <a16:colId xmlns:a16="http://schemas.microsoft.com/office/drawing/2014/main" val="233024480"/>
                    </a:ext>
                  </a:extLst>
                </a:gridCol>
                <a:gridCol w="1092899">
                  <a:extLst>
                    <a:ext uri="{9D8B030D-6E8A-4147-A177-3AD203B41FA5}">
                      <a16:colId xmlns:a16="http://schemas.microsoft.com/office/drawing/2014/main" val="905091292"/>
                    </a:ext>
                  </a:extLst>
                </a:gridCol>
              </a:tblGrid>
              <a:tr h="360233">
                <a:tc>
                  <a:txBody>
                    <a:bodyPr/>
                    <a:lstStyle/>
                    <a:p>
                      <a:endParaRPr lang="en-NL" sz="1100" b="0" i="0">
                        <a:solidFill>
                          <a:schemeClr val="bg1"/>
                        </a:solidFill>
                        <a:latin typeface="Archivo Medium" pitchFamily="2" charset="77"/>
                        <a:cs typeface="Archivo Medium" pitchFamily="2" charset="7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NL" sz="1000" b="0" i="0" spc="100" baseline="0" dirty="0">
                          <a:solidFill>
                            <a:schemeClr val="bg1"/>
                          </a:solidFill>
                          <a:latin typeface="Archivo Medium" pitchFamily="2" charset="77"/>
                          <a:cs typeface="Archivo Medium" pitchFamily="2" charset="77"/>
                        </a:rPr>
                        <a:t>Lorum ipsum dolo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NL" sz="1000" b="0" i="0" spc="100" baseline="0">
                          <a:solidFill>
                            <a:schemeClr val="bg1"/>
                          </a:solidFill>
                          <a:latin typeface="Archivo Medium" pitchFamily="2" charset="77"/>
                          <a:cs typeface="Archivo Medium" pitchFamily="2" charset="77"/>
                        </a:rPr>
                        <a:t>Am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NL" sz="1000" b="0" i="0" spc="100" baseline="0">
                          <a:solidFill>
                            <a:schemeClr val="bg1"/>
                          </a:solidFill>
                          <a:latin typeface="Archivo Medium" pitchFamily="2" charset="77"/>
                          <a:cs typeface="Archivo Medium" pitchFamily="2" charset="77"/>
                        </a:rPr>
                        <a:t>Orci si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NL" sz="1000" b="0" i="0" spc="100" baseline="0">
                          <a:solidFill>
                            <a:schemeClr val="bg1"/>
                          </a:solidFill>
                          <a:latin typeface="Archivo Medium" pitchFamily="2" charset="77"/>
                          <a:cs typeface="Archivo Medium" pitchFamily="2" charset="77"/>
                        </a:rPr>
                        <a:t>Lacini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0588087"/>
                  </a:ext>
                </a:extLst>
              </a:tr>
              <a:tr h="360233">
                <a:tc>
                  <a:txBody>
                    <a:bodyPr/>
                    <a:lstStyle/>
                    <a:p>
                      <a:pPr algn="ctr"/>
                      <a:r>
                        <a:rPr lang="en-NL" sz="1500">
                          <a:latin typeface="Caveat" pitchFamily="2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01</a:t>
                      </a:r>
                    </a:p>
                  </a:txBody>
                  <a:tcPr marL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err="1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Mauris</a:t>
                      </a:r>
                      <a:r>
                        <a:rPr lang="en-GB" sz="1000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 </a:t>
                      </a:r>
                      <a:r>
                        <a:rPr lang="en-GB" sz="1000" err="1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ultricies</a:t>
                      </a:r>
                      <a:r>
                        <a:rPr lang="en-GB" sz="1000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, </a:t>
                      </a:r>
                      <a:r>
                        <a:rPr lang="en-GB" sz="1000" err="1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metus</a:t>
                      </a:r>
                      <a:r>
                        <a:rPr lang="en-GB" sz="1000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 a lacinia convallis, </a:t>
                      </a:r>
                      <a:r>
                        <a:rPr lang="en-GB" sz="1000" err="1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dolor</a:t>
                      </a:r>
                      <a:r>
                        <a:rPr lang="en-GB" sz="1000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 </a:t>
                      </a:r>
                      <a:r>
                        <a:rPr lang="en-GB" sz="1000" err="1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orci</a:t>
                      </a:r>
                      <a:r>
                        <a:rPr lang="en-GB" sz="1000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 </a:t>
                      </a:r>
                      <a:r>
                        <a:rPr lang="en-GB" sz="1000" err="1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dapibus</a:t>
                      </a:r>
                      <a:r>
                        <a:rPr lang="en-GB" sz="1000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 </a:t>
                      </a:r>
                      <a:r>
                        <a:rPr lang="en-GB" sz="1000" err="1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felis</a:t>
                      </a:r>
                      <a:r>
                        <a:rPr lang="en-GB" sz="1000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,</a:t>
                      </a:r>
                      <a:endParaRPr lang="en-NL" sz="1000">
                        <a:latin typeface="Noto Sans ExtraBold" panose="020B0502040504020204" pitchFamily="34" charset="0"/>
                        <a:ea typeface="Noto Sans ExtraBold" panose="020B0502040504020204" pitchFamily="34" charset="0"/>
                        <a:cs typeface="Noto Sans ExtraBold" panose="020B050204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NL" sz="1000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Dolor sit am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NL" sz="1000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43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NL" sz="1000"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43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6950"/>
                  </a:ext>
                </a:extLst>
              </a:tr>
              <a:tr h="3602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veat" pitchFamily="2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02</a:t>
                      </a:r>
                    </a:p>
                  </a:txBody>
                  <a:tcPr marL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Mauris ultricies, metus a lacinia convallis, dolor orci dapibus felis,</a:t>
                      </a:r>
                      <a:endParaRPr kumimoji="0" lang="en-NL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Noto Sans ExtraBold" panose="020B0502040504020204" pitchFamily="34" charset="0"/>
                        <a:ea typeface="Noto Sans ExtraBold" panose="020B0502040504020204" pitchFamily="34" charset="0"/>
                        <a:cs typeface="Noto Sans ExtraBold" panose="020B050204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Dolor sit am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12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12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2910959"/>
                  </a:ext>
                </a:extLst>
              </a:tr>
              <a:tr h="3602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veat" pitchFamily="2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03</a:t>
                      </a:r>
                    </a:p>
                  </a:txBody>
                  <a:tcPr marL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Mauris ultricies, metus a lacinia convallis, dolor orci dapibus felis,</a:t>
                      </a:r>
                      <a:endParaRPr kumimoji="0" lang="en-NL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Noto Sans ExtraBold" panose="020B0502040504020204" pitchFamily="34" charset="0"/>
                        <a:ea typeface="Noto Sans ExtraBold" panose="020B0502040504020204" pitchFamily="34" charset="0"/>
                        <a:cs typeface="Noto Sans ExtraBold" panose="020B050204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Dolor sit am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453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453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520530"/>
                  </a:ext>
                </a:extLst>
              </a:tr>
              <a:tr h="3602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veat" pitchFamily="2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04</a:t>
                      </a:r>
                    </a:p>
                  </a:txBody>
                  <a:tcPr marL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Mauris ultricies, metus a lacinia convallis, dolor orci dapibus felis,</a:t>
                      </a:r>
                      <a:endParaRPr kumimoji="0" lang="en-NL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Noto Sans ExtraBold" panose="020B0502040504020204" pitchFamily="34" charset="0"/>
                        <a:ea typeface="Noto Sans ExtraBold" panose="020B0502040504020204" pitchFamily="34" charset="0"/>
                        <a:cs typeface="Noto Sans ExtraBold" panose="020B050204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Dolor sit am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523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523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695153"/>
                  </a:ext>
                </a:extLst>
              </a:tr>
              <a:tr h="3602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veat" pitchFamily="2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05</a:t>
                      </a:r>
                    </a:p>
                  </a:txBody>
                  <a:tcPr marL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Mauris ultricies, metus a lacinia convallis, dolor orci dapibus felis,</a:t>
                      </a:r>
                      <a:endParaRPr kumimoji="0" lang="en-NL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Noto Sans ExtraBold" panose="020B0502040504020204" pitchFamily="34" charset="0"/>
                        <a:ea typeface="Noto Sans ExtraBold" panose="020B0502040504020204" pitchFamily="34" charset="0"/>
                        <a:cs typeface="Noto Sans ExtraBold" panose="020B050204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Dolor sit am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4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4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874898"/>
                  </a:ext>
                </a:extLst>
              </a:tr>
              <a:tr h="3602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veat" pitchFamily="2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06</a:t>
                      </a:r>
                    </a:p>
                  </a:txBody>
                  <a:tcPr marL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Mauris ultricies, metus a lacinia convallis, dolor orci dapibus felis,</a:t>
                      </a:r>
                      <a:endParaRPr kumimoji="0" lang="en-NL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Noto Sans ExtraBold" panose="020B0502040504020204" pitchFamily="34" charset="0"/>
                        <a:ea typeface="Noto Sans ExtraBold" panose="020B0502040504020204" pitchFamily="34" charset="0"/>
                        <a:cs typeface="Noto Sans ExtraBold" panose="020B050204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Dolor sit am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23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23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377582"/>
                  </a:ext>
                </a:extLst>
              </a:tr>
              <a:tr h="3602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veat" pitchFamily="2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07</a:t>
                      </a:r>
                    </a:p>
                  </a:txBody>
                  <a:tcPr marL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Mauris ultricies, metus a lacinia convallis, dolor orci dapibus felis,</a:t>
                      </a:r>
                      <a:endParaRPr kumimoji="0" lang="en-NL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Noto Sans ExtraBold" panose="020B0502040504020204" pitchFamily="34" charset="0"/>
                        <a:ea typeface="Noto Sans ExtraBold" panose="020B0502040504020204" pitchFamily="34" charset="0"/>
                        <a:cs typeface="Noto Sans ExtraBold" panose="020B050204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Dolor sit am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123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123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7684755"/>
                  </a:ext>
                </a:extLst>
              </a:tr>
              <a:tr h="3602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veat" pitchFamily="2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08</a:t>
                      </a:r>
                    </a:p>
                  </a:txBody>
                  <a:tcPr marL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Mauris ultricies, metus a lacinia convallis, dolor orci dapibus felis,</a:t>
                      </a:r>
                      <a:endParaRPr kumimoji="0" lang="en-NL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Noto Sans ExtraBold" panose="020B0502040504020204" pitchFamily="34" charset="0"/>
                        <a:ea typeface="Noto Sans ExtraBold" panose="020B0502040504020204" pitchFamily="34" charset="0"/>
                        <a:cs typeface="Noto Sans ExtraBold" panose="020B050204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Dolor sit am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32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32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748233"/>
                  </a:ext>
                </a:extLst>
              </a:tr>
              <a:tr h="3602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veat" pitchFamily="2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09</a:t>
                      </a:r>
                    </a:p>
                  </a:txBody>
                  <a:tcPr marL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Mauris</a:t>
                      </a: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 </a:t>
                      </a:r>
                      <a:r>
                        <a:rPr kumimoji="0" lang="en-GB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ultricies</a:t>
                      </a: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, </a:t>
                      </a:r>
                      <a:r>
                        <a:rPr kumimoji="0" lang="en-GB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metus</a:t>
                      </a: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 a lacinia convallis, </a:t>
                      </a:r>
                      <a:r>
                        <a:rPr kumimoji="0" lang="en-GB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dolor</a:t>
                      </a: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 </a:t>
                      </a:r>
                      <a:r>
                        <a:rPr kumimoji="0" lang="en-GB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orci</a:t>
                      </a: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 </a:t>
                      </a:r>
                      <a:r>
                        <a:rPr kumimoji="0" lang="en-GB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dapibus</a:t>
                      </a: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 </a:t>
                      </a:r>
                      <a:r>
                        <a:rPr kumimoji="0" lang="en-GB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felis</a:t>
                      </a: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,</a:t>
                      </a:r>
                      <a:endParaRPr kumimoji="0" lang="en-NL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Noto Sans ExtraBold" panose="020B0502040504020204" pitchFamily="34" charset="0"/>
                        <a:ea typeface="Noto Sans ExtraBold" panose="020B0502040504020204" pitchFamily="34" charset="0"/>
                        <a:cs typeface="Noto Sans ExtraBold" panose="020B0502040504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Dolor sit am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52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L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Noto Sans ExtraBold" panose="020B0502040504020204" pitchFamily="34" charset="0"/>
                          <a:ea typeface="Noto Sans ExtraBold" panose="020B0502040504020204" pitchFamily="34" charset="0"/>
                          <a:cs typeface="Noto Sans ExtraBold" panose="020B0502040504020204" pitchFamily="34" charset="0"/>
                        </a:rPr>
                        <a:t>52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614879"/>
                  </a:ext>
                </a:extLst>
              </a:tr>
            </a:tbl>
          </a:graphicData>
        </a:graphic>
      </p:graphicFrame>
      <p:sp>
        <p:nvSpPr>
          <p:cNvPr id="8" name="Oval 7">
            <a:extLst>
              <a:ext uri="{FF2B5EF4-FFF2-40B4-BE49-F238E27FC236}">
                <a16:creationId xmlns:a16="http://schemas.microsoft.com/office/drawing/2014/main" id="{FAD047A7-A20A-0853-7ADA-536CCF6EB33F}"/>
              </a:ext>
            </a:extLst>
          </p:cNvPr>
          <p:cNvSpPr/>
          <p:nvPr/>
        </p:nvSpPr>
        <p:spPr>
          <a:xfrm>
            <a:off x="9187731" y="3849202"/>
            <a:ext cx="166615" cy="16661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600" b="1" i="0" u="none" strike="noStrike" kern="1200" cap="none" spc="0" normalizeH="0" baseline="0" noProof="0">
                <a:ln>
                  <a:noFill/>
                </a:ln>
                <a:solidFill>
                  <a:srgbClr val="E2F8A1"/>
                </a:solidFill>
                <a:effectLst/>
                <a:uLnTx/>
                <a:uFillTx/>
                <a:latin typeface="Archivo" pitchFamily="2" charset="77"/>
                <a:ea typeface="+mn-ea"/>
                <a:cs typeface="Archivo" pitchFamily="2" charset="77"/>
              </a:rPr>
              <a:t>A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033DAC3-9846-1933-9A02-82E5C5E64EAB}"/>
              </a:ext>
            </a:extLst>
          </p:cNvPr>
          <p:cNvSpPr/>
          <p:nvPr/>
        </p:nvSpPr>
        <p:spPr>
          <a:xfrm>
            <a:off x="10262944" y="4932044"/>
            <a:ext cx="166615" cy="16661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600" b="1" i="0" u="none" strike="noStrike" kern="1200" cap="none" spc="0" normalizeH="0" baseline="0" noProof="0">
                <a:ln>
                  <a:noFill/>
                </a:ln>
                <a:solidFill>
                  <a:srgbClr val="A1D3F8"/>
                </a:solidFill>
                <a:effectLst/>
                <a:uLnTx/>
                <a:uFillTx/>
                <a:latin typeface="Archivo" pitchFamily="2" charset="77"/>
                <a:ea typeface="+mn-ea"/>
                <a:cs typeface="Archivo" pitchFamily="2" charset="77"/>
              </a:rPr>
              <a:t>B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C82C256-E192-028E-9B33-3E81455E8B29}"/>
              </a:ext>
            </a:extLst>
          </p:cNvPr>
          <p:cNvSpPr/>
          <p:nvPr/>
        </p:nvSpPr>
        <p:spPr>
          <a:xfrm>
            <a:off x="9254815" y="891690"/>
            <a:ext cx="166615" cy="16661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600" b="1" i="0" u="none" strike="noStrike" kern="1200" cap="none" spc="0" normalizeH="0" baseline="0" noProof="0">
                <a:ln>
                  <a:noFill/>
                </a:ln>
                <a:solidFill>
                  <a:srgbClr val="E2F8A1"/>
                </a:solidFill>
                <a:effectLst/>
                <a:uLnTx/>
                <a:uFillTx/>
                <a:latin typeface="Archivo" pitchFamily="2" charset="77"/>
                <a:ea typeface="+mn-ea"/>
                <a:cs typeface="Archivo" pitchFamily="2" charset="77"/>
              </a:rPr>
              <a:t>A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4F57E77-839E-DCE8-0719-EDD96DDAED65}"/>
              </a:ext>
            </a:extLst>
          </p:cNvPr>
          <p:cNvSpPr/>
          <p:nvPr/>
        </p:nvSpPr>
        <p:spPr>
          <a:xfrm>
            <a:off x="10764402" y="895826"/>
            <a:ext cx="166615" cy="16661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600" b="1" i="0" u="none" strike="noStrike" kern="1200" cap="none" spc="0" normalizeH="0" baseline="0" noProof="0">
                <a:ln>
                  <a:noFill/>
                </a:ln>
                <a:solidFill>
                  <a:srgbClr val="A1D3F8"/>
                </a:solidFill>
                <a:effectLst/>
                <a:uLnTx/>
                <a:uFillTx/>
                <a:latin typeface="Archivo" pitchFamily="2" charset="77"/>
                <a:ea typeface="+mn-ea"/>
                <a:cs typeface="Archivo" pitchFamily="2" charset="77"/>
              </a:rPr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1346300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9BCD82-CF32-8F0E-0710-B11571B792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1.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C5594B-8043-1E8C-CB7E-FDAB2FD9AC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5605" y="1144740"/>
            <a:ext cx="5296545" cy="867930"/>
          </a:xfrm>
        </p:spPr>
        <p:txBody>
          <a:bodyPr/>
          <a:lstStyle/>
          <a:p>
            <a:r>
              <a:rPr lang="en-NL"/>
              <a:t>Kleuren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C83F7B59-07E3-F015-83D8-F43442FEE760}"/>
              </a:ext>
            </a:extLst>
          </p:cNvPr>
          <p:cNvSpPr/>
          <p:nvPr/>
        </p:nvSpPr>
        <p:spPr>
          <a:xfrm>
            <a:off x="523731" y="5672216"/>
            <a:ext cx="1651298" cy="674703"/>
          </a:xfrm>
          <a:prstGeom prst="rect">
            <a:avLst/>
          </a:prstGeom>
          <a:solidFill>
            <a:srgbClr val="171A6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717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B85BA3C-FCB4-AA8A-536F-AC2CBB8BFE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731" y="848432"/>
            <a:ext cx="3337741" cy="286232"/>
          </a:xfrm>
        </p:spPr>
        <p:txBody>
          <a:bodyPr/>
          <a:lstStyle/>
          <a:p>
            <a:r>
              <a:rPr lang="en-NL"/>
              <a:t>Merk kleur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903B93-F724-B90F-35B8-6645282A19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443" y="1091800"/>
            <a:ext cx="3351532" cy="1200329"/>
          </a:xfrm>
        </p:spPr>
        <p:txBody>
          <a:bodyPr/>
          <a:lstStyle/>
          <a:p>
            <a:r>
              <a:rPr lang="en-NL"/>
              <a:t>Onze kleur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516940-5BA0-CEDA-1C1E-194165D506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6233" y="2292129"/>
            <a:ext cx="3337741" cy="3621308"/>
          </a:xfrm>
        </p:spPr>
        <p:txBody>
          <a:bodyPr/>
          <a:lstStyle/>
          <a:p>
            <a:r>
              <a:rPr lang="en-GB"/>
              <a:t>We </a:t>
            </a:r>
            <a:r>
              <a:rPr lang="en-GB" err="1"/>
              <a:t>omarmen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veelzijdige</a:t>
            </a:r>
            <a:r>
              <a:rPr lang="en-GB"/>
              <a:t> </a:t>
            </a:r>
            <a:r>
              <a:rPr lang="en-GB" err="1"/>
              <a:t>kleurenidentiteit</a:t>
            </a:r>
            <a:r>
              <a:rPr lang="en-GB"/>
              <a:t>, </a:t>
            </a:r>
            <a:r>
              <a:rPr lang="en-GB" err="1"/>
              <a:t>bestaande</a:t>
            </a:r>
            <a:r>
              <a:rPr lang="en-GB"/>
              <a:t> </a:t>
            </a:r>
            <a:r>
              <a:rPr lang="en-GB" err="1"/>
              <a:t>uit</a:t>
            </a:r>
            <a:r>
              <a:rPr lang="en-GB"/>
              <a:t> vier </a:t>
            </a:r>
            <a:r>
              <a:rPr lang="en-GB" err="1"/>
              <a:t>primaire</a:t>
            </a:r>
            <a:r>
              <a:rPr lang="en-GB"/>
              <a:t> </a:t>
            </a:r>
            <a:r>
              <a:rPr lang="en-GB" err="1"/>
              <a:t>kleurenlagen</a:t>
            </a:r>
            <a:r>
              <a:rPr lang="en-GB"/>
              <a:t>. Elke </a:t>
            </a:r>
            <a:r>
              <a:rPr lang="en-GB" err="1"/>
              <a:t>individuele</a:t>
            </a:r>
            <a:r>
              <a:rPr lang="en-GB"/>
              <a:t> </a:t>
            </a:r>
            <a:r>
              <a:rPr lang="en-GB" err="1"/>
              <a:t>kleur</a:t>
            </a:r>
            <a:r>
              <a:rPr lang="en-GB"/>
              <a:t> is </a:t>
            </a:r>
            <a:r>
              <a:rPr lang="en-GB" err="1"/>
              <a:t>samengesteld</a:t>
            </a:r>
            <a:r>
              <a:rPr lang="en-GB"/>
              <a:t> </a:t>
            </a:r>
            <a:r>
              <a:rPr lang="en-GB" err="1"/>
              <a:t>uit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hoofdkleur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ondersteunende</a:t>
            </a:r>
            <a:r>
              <a:rPr lang="en-GB"/>
              <a:t> </a:t>
            </a:r>
            <a:r>
              <a:rPr lang="en-GB" err="1"/>
              <a:t>kleur</a:t>
            </a:r>
            <a:r>
              <a:rPr lang="en-GB"/>
              <a:t>, die </a:t>
            </a:r>
            <a:r>
              <a:rPr lang="en-GB" err="1"/>
              <a:t>altijd</a:t>
            </a:r>
            <a:r>
              <a:rPr lang="en-GB"/>
              <a:t> </a:t>
            </a:r>
            <a:r>
              <a:rPr lang="en-GB" err="1"/>
              <a:t>samen</a:t>
            </a:r>
            <a:r>
              <a:rPr lang="en-GB"/>
              <a:t> </a:t>
            </a:r>
            <a:r>
              <a:rPr lang="en-GB" err="1"/>
              <a:t>gebruikt</a:t>
            </a:r>
            <a:r>
              <a:rPr lang="en-GB"/>
              <a:t> </a:t>
            </a:r>
            <a:r>
              <a:rPr lang="en-GB" err="1"/>
              <a:t>kunnen</a:t>
            </a:r>
            <a:r>
              <a:rPr lang="en-GB"/>
              <a:t> </a:t>
            </a:r>
            <a:r>
              <a:rPr lang="en-GB" err="1"/>
              <a:t>worden</a:t>
            </a:r>
            <a:r>
              <a:rPr lang="en-GB"/>
              <a:t>. </a:t>
            </a:r>
            <a:r>
              <a:rPr lang="en-GB" err="1"/>
              <a:t>Deze</a:t>
            </a:r>
            <a:r>
              <a:rPr lang="en-GB"/>
              <a:t> </a:t>
            </a:r>
            <a:r>
              <a:rPr lang="en-GB" err="1"/>
              <a:t>kleuren</a:t>
            </a:r>
            <a:r>
              <a:rPr lang="en-GB"/>
              <a:t> </a:t>
            </a:r>
            <a:r>
              <a:rPr lang="en-GB" err="1"/>
              <a:t>hebben</a:t>
            </a:r>
            <a:r>
              <a:rPr lang="en-GB"/>
              <a:t> elk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unieke</a:t>
            </a:r>
            <a:r>
              <a:rPr lang="en-GB"/>
              <a:t> </a:t>
            </a:r>
            <a:r>
              <a:rPr lang="en-GB" err="1"/>
              <a:t>betekenis</a:t>
            </a:r>
            <a:r>
              <a:rPr lang="en-GB"/>
              <a:t>,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gezamenlijk</a:t>
            </a:r>
            <a:r>
              <a:rPr lang="en-GB"/>
              <a:t> </a:t>
            </a:r>
            <a:r>
              <a:rPr lang="en-GB" err="1"/>
              <a:t>creëren</a:t>
            </a:r>
            <a:r>
              <a:rPr lang="en-GB"/>
              <a:t> ze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passende</a:t>
            </a:r>
            <a:r>
              <a:rPr lang="en-GB"/>
              <a:t> </a:t>
            </a:r>
            <a:r>
              <a:rPr lang="en-GB" err="1"/>
              <a:t>visuele</a:t>
            </a:r>
            <a:r>
              <a:rPr lang="en-GB"/>
              <a:t> </a:t>
            </a:r>
            <a:r>
              <a:rPr lang="en-GB" err="1"/>
              <a:t>sfeer</a:t>
            </a:r>
            <a:r>
              <a:rPr lang="en-GB"/>
              <a:t> </a:t>
            </a:r>
            <a:r>
              <a:rPr lang="en-GB" err="1"/>
              <a:t>voor</a:t>
            </a:r>
            <a:r>
              <a:rPr lang="en-GB"/>
              <a:t> </a:t>
            </a:r>
            <a:r>
              <a:rPr lang="en-GB" err="1"/>
              <a:t>elke</a:t>
            </a:r>
            <a:r>
              <a:rPr lang="en-GB"/>
              <a:t> </a:t>
            </a:r>
            <a:r>
              <a:rPr lang="en-GB" err="1"/>
              <a:t>uiting</a:t>
            </a:r>
            <a:r>
              <a:rPr lang="en-GB"/>
              <a:t> </a:t>
            </a:r>
            <a:r>
              <a:rPr lang="en-GB" err="1"/>
              <a:t>binnen</a:t>
            </a:r>
            <a:r>
              <a:rPr lang="en-GB"/>
              <a:t> </a:t>
            </a:r>
            <a:r>
              <a:rPr lang="en-GB" err="1"/>
              <a:t>onze</a:t>
            </a:r>
            <a:r>
              <a:rPr lang="en-GB"/>
              <a:t> </a:t>
            </a:r>
            <a:r>
              <a:rPr lang="en-GB" err="1"/>
              <a:t>huisstijl</a:t>
            </a:r>
            <a:r>
              <a:rPr lang="en-GB"/>
              <a:t>. Ze </a:t>
            </a:r>
            <a:r>
              <a:rPr lang="en-GB" err="1"/>
              <a:t>zijn</a:t>
            </a:r>
            <a:r>
              <a:rPr lang="en-GB"/>
              <a:t> </a:t>
            </a:r>
            <a:r>
              <a:rPr lang="en-GB" err="1"/>
              <a:t>niet</a:t>
            </a:r>
            <a:r>
              <a:rPr lang="en-GB"/>
              <a:t> </a:t>
            </a:r>
            <a:r>
              <a:rPr lang="en-GB" err="1"/>
              <a:t>alleen</a:t>
            </a:r>
            <a:r>
              <a:rPr lang="en-GB"/>
              <a:t> </a:t>
            </a:r>
            <a:r>
              <a:rPr lang="en-GB" err="1"/>
              <a:t>esthetisch</a:t>
            </a:r>
            <a:r>
              <a:rPr lang="en-GB"/>
              <a:t>, maar </a:t>
            </a:r>
            <a:r>
              <a:rPr lang="en-GB" err="1"/>
              <a:t>versterken</a:t>
            </a:r>
            <a:r>
              <a:rPr lang="en-GB"/>
              <a:t> </a:t>
            </a:r>
            <a:r>
              <a:rPr lang="en-GB" err="1"/>
              <a:t>ook</a:t>
            </a:r>
            <a:r>
              <a:rPr lang="en-GB"/>
              <a:t> de </a:t>
            </a:r>
            <a:r>
              <a:rPr lang="en-GB" err="1"/>
              <a:t>verbinding</a:t>
            </a:r>
            <a:r>
              <a:rPr lang="en-GB"/>
              <a:t> </a:t>
            </a:r>
            <a:r>
              <a:rPr lang="en-GB" err="1"/>
              <a:t>tussen</a:t>
            </a:r>
            <a:r>
              <a:rPr lang="en-GB"/>
              <a:t> </a:t>
            </a:r>
            <a:r>
              <a:rPr lang="en-GB" err="1"/>
              <a:t>ons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onze</a:t>
            </a:r>
            <a:r>
              <a:rPr lang="en-GB"/>
              <a:t> </a:t>
            </a:r>
            <a:r>
              <a:rPr lang="en-GB" err="1"/>
              <a:t>doelgroep</a:t>
            </a:r>
            <a:r>
              <a:rPr lang="en-GB"/>
              <a:t>.</a:t>
            </a:r>
          </a:p>
          <a:p>
            <a:r>
              <a:rPr lang="en-GB"/>
              <a:t>De </a:t>
            </a:r>
            <a:r>
              <a:rPr lang="en-GB" err="1"/>
              <a:t>kleuren</a:t>
            </a:r>
            <a:r>
              <a:rPr lang="en-GB"/>
              <a:t> </a:t>
            </a:r>
            <a:r>
              <a:rPr lang="en-GB" err="1"/>
              <a:t>zijn</a:t>
            </a:r>
            <a:r>
              <a:rPr lang="en-GB"/>
              <a:t> </a:t>
            </a:r>
            <a:r>
              <a:rPr lang="en-GB" err="1"/>
              <a:t>niet</a:t>
            </a:r>
            <a:r>
              <a:rPr lang="en-GB"/>
              <a:t> </a:t>
            </a:r>
            <a:r>
              <a:rPr lang="en-GB" err="1"/>
              <a:t>gekoppeld</a:t>
            </a:r>
            <a:r>
              <a:rPr lang="en-GB"/>
              <a:t> </a:t>
            </a:r>
            <a:r>
              <a:rPr lang="en-GB" err="1"/>
              <a:t>aan</a:t>
            </a:r>
            <a:r>
              <a:rPr lang="en-GB"/>
              <a:t> </a:t>
            </a:r>
            <a:r>
              <a:rPr lang="en-GB" err="1"/>
              <a:t>specifieke</a:t>
            </a:r>
            <a:r>
              <a:rPr lang="en-GB"/>
              <a:t> </a:t>
            </a:r>
            <a:r>
              <a:rPr lang="en-GB" err="1"/>
              <a:t>dienstverlening</a:t>
            </a:r>
            <a:r>
              <a:rPr lang="en-GB"/>
              <a:t> of </a:t>
            </a:r>
            <a:r>
              <a:rPr lang="en-GB" err="1"/>
              <a:t>producten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mogen</a:t>
            </a:r>
            <a:r>
              <a:rPr lang="en-GB"/>
              <a:t> </a:t>
            </a:r>
            <a:r>
              <a:rPr lang="en-GB" err="1"/>
              <a:t>vrij</a:t>
            </a:r>
            <a:r>
              <a:rPr lang="en-GB"/>
              <a:t> </a:t>
            </a:r>
            <a:r>
              <a:rPr lang="en-GB" err="1"/>
              <a:t>gebruikt</a:t>
            </a:r>
            <a:r>
              <a:rPr lang="en-GB"/>
              <a:t> </a:t>
            </a:r>
            <a:r>
              <a:rPr lang="en-GB" err="1"/>
              <a:t>worden</a:t>
            </a:r>
            <a:r>
              <a:rPr lang="en-GB"/>
              <a:t>. </a:t>
            </a:r>
            <a:r>
              <a:rPr lang="en-GB" err="1"/>
              <a:t>Een</a:t>
            </a:r>
            <a:r>
              <a:rPr lang="en-GB"/>
              <a:t> </a:t>
            </a:r>
            <a:r>
              <a:rPr lang="en-GB" err="1"/>
              <a:t>gelijke</a:t>
            </a:r>
            <a:r>
              <a:rPr lang="en-GB"/>
              <a:t> </a:t>
            </a:r>
            <a:r>
              <a:rPr lang="en-GB" err="1"/>
              <a:t>afwisseling</a:t>
            </a:r>
            <a:r>
              <a:rPr lang="en-GB"/>
              <a:t> </a:t>
            </a:r>
            <a:r>
              <a:rPr lang="en-GB" err="1"/>
              <a:t>tussen</a:t>
            </a:r>
            <a:r>
              <a:rPr lang="en-GB"/>
              <a:t> de </a:t>
            </a:r>
            <a:r>
              <a:rPr lang="en-GB" err="1"/>
              <a:t>kleuren</a:t>
            </a:r>
            <a:r>
              <a:rPr lang="en-GB"/>
              <a:t> is </a:t>
            </a:r>
            <a:r>
              <a:rPr lang="en-GB" err="1"/>
              <a:t>wenselijk</a:t>
            </a:r>
            <a:r>
              <a:rPr lang="en-GB"/>
              <a:t>.</a:t>
            </a:r>
            <a:endParaRPr lang="en-NL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406D6D6-64A4-4893-074C-967A2D330C30}"/>
              </a:ext>
            </a:extLst>
          </p:cNvPr>
          <p:cNvSpPr/>
          <p:nvPr/>
        </p:nvSpPr>
        <p:spPr>
          <a:xfrm>
            <a:off x="4842669" y="1099958"/>
            <a:ext cx="3205163" cy="2160150"/>
          </a:xfrm>
          <a:prstGeom prst="roundRect">
            <a:avLst>
              <a:gd name="adj" fmla="val 3338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5631842-3E2F-4A00-3DC9-6606AF7F2096}"/>
              </a:ext>
            </a:extLst>
          </p:cNvPr>
          <p:cNvSpPr txBox="1">
            <a:spLocks/>
          </p:cNvSpPr>
          <p:nvPr/>
        </p:nvSpPr>
        <p:spPr>
          <a:xfrm>
            <a:off x="5012511" y="2625414"/>
            <a:ext cx="2188391" cy="486508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HEX: #F8EAA1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C 3%   M 4%   Y 45%   K 0%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PMS: 2001 C</a:t>
            </a:r>
            <a:endParaRPr kumimoji="0" lang="en-NL" sz="600" b="0" i="0" u="none" strike="noStrike" kern="1200" cap="none" spc="140" normalizeH="0" baseline="0" noProof="0">
              <a:ln>
                <a:noFill/>
              </a:ln>
              <a:solidFill>
                <a:srgbClr val="FF8200"/>
              </a:solidFill>
              <a:effectLst/>
              <a:uLnTx/>
              <a:uFillTx/>
              <a:latin typeface="Archivo Medium" pitchFamily="2" charset="77"/>
              <a:cs typeface="Archivo Medium" pitchFamily="2" charset="77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2E3E800C-9129-F990-7F90-389719CEBED1}"/>
              </a:ext>
            </a:extLst>
          </p:cNvPr>
          <p:cNvSpPr/>
          <p:nvPr/>
        </p:nvSpPr>
        <p:spPr>
          <a:xfrm>
            <a:off x="8367041" y="1099961"/>
            <a:ext cx="3205163" cy="2160150"/>
          </a:xfrm>
          <a:prstGeom prst="roundRect">
            <a:avLst>
              <a:gd name="adj" fmla="val 333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82AD6BE-17B7-A3BF-C148-B3B06A862991}"/>
              </a:ext>
            </a:extLst>
          </p:cNvPr>
          <p:cNvSpPr txBox="1">
            <a:spLocks/>
          </p:cNvSpPr>
          <p:nvPr/>
        </p:nvSpPr>
        <p:spPr>
          <a:xfrm>
            <a:off x="8536883" y="2625417"/>
            <a:ext cx="2188391" cy="486508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HEX: #E7A1F8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C 16%   M 40%   Y 0%   K 0%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PMS: 236 C</a:t>
            </a:r>
            <a:endParaRPr kumimoji="0" lang="en-NL" sz="600" b="0" i="0" u="none" strike="noStrike" kern="1200" cap="none" spc="140" normalizeH="0" baseline="0" noProof="0">
              <a:ln>
                <a:noFill/>
              </a:ln>
              <a:solidFill>
                <a:srgbClr val="61173E"/>
              </a:solidFill>
              <a:effectLst/>
              <a:uLnTx/>
              <a:uFillTx/>
              <a:latin typeface="Archivo Medium" pitchFamily="2" charset="77"/>
              <a:cs typeface="Archivo Medium" pitchFamily="2" charset="77"/>
            </a:endParaRP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6039DAE5-0CC3-CC80-9224-33C2C4788405}"/>
              </a:ext>
            </a:extLst>
          </p:cNvPr>
          <p:cNvSpPr/>
          <p:nvPr/>
        </p:nvSpPr>
        <p:spPr>
          <a:xfrm>
            <a:off x="4842669" y="3760519"/>
            <a:ext cx="3205163" cy="2160150"/>
          </a:xfrm>
          <a:prstGeom prst="roundRect">
            <a:avLst>
              <a:gd name="adj" fmla="val 3338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B45E1F7-1206-35BA-FFB8-3976F01F8AF8}"/>
              </a:ext>
            </a:extLst>
          </p:cNvPr>
          <p:cNvSpPr txBox="1">
            <a:spLocks/>
          </p:cNvSpPr>
          <p:nvPr/>
        </p:nvSpPr>
        <p:spPr>
          <a:xfrm>
            <a:off x="5012511" y="5285975"/>
            <a:ext cx="2188391" cy="486508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HEX: #E2F8A1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C 13%   M 0%   Y 45%   K 0%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PMS: 2281 C</a:t>
            </a:r>
            <a:endParaRPr kumimoji="0" lang="en-NL" sz="600" b="0" i="0" u="none" strike="noStrike" kern="1200" cap="none" spc="140" normalizeH="0" baseline="0" noProof="0">
              <a:ln>
                <a:noFill/>
              </a:ln>
              <a:solidFill>
                <a:srgbClr val="186117"/>
              </a:solidFill>
              <a:effectLst/>
              <a:uLnTx/>
              <a:uFillTx/>
              <a:latin typeface="Archivo Medium" pitchFamily="2" charset="77"/>
              <a:cs typeface="Archivo Medium" pitchFamily="2" charset="77"/>
            </a:endParaRP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087B63C2-0974-91CD-2D34-6992624FB7B5}"/>
              </a:ext>
            </a:extLst>
          </p:cNvPr>
          <p:cNvSpPr/>
          <p:nvPr/>
        </p:nvSpPr>
        <p:spPr>
          <a:xfrm>
            <a:off x="8367041" y="3760522"/>
            <a:ext cx="3205163" cy="2160150"/>
          </a:xfrm>
          <a:prstGeom prst="roundRect">
            <a:avLst>
              <a:gd name="adj" fmla="val 333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76AC9018-3F93-DC41-30DD-F64A9EFA9170}"/>
              </a:ext>
            </a:extLst>
          </p:cNvPr>
          <p:cNvSpPr txBox="1">
            <a:spLocks/>
          </p:cNvSpPr>
          <p:nvPr/>
        </p:nvSpPr>
        <p:spPr>
          <a:xfrm>
            <a:off x="8536883" y="5285978"/>
            <a:ext cx="2188391" cy="486508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171A6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HEX: #A1D3F8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171A6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171A6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C 33%   M 5%   Y 0%   K 0%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171A6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171A6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PMS: 2975 C</a:t>
            </a:r>
            <a:endParaRPr kumimoji="0" lang="en-NL" sz="600" b="0" i="0" u="none" strike="noStrike" kern="1200" cap="none" spc="140" normalizeH="0" baseline="0" noProof="0">
              <a:ln>
                <a:noFill/>
              </a:ln>
              <a:solidFill>
                <a:srgbClr val="171A61"/>
              </a:solidFill>
              <a:effectLst/>
              <a:uLnTx/>
              <a:uFillTx/>
              <a:latin typeface="Archivo Medium" pitchFamily="2" charset="77"/>
              <a:cs typeface="Archivo Medium" pitchFamily="2" charset="77"/>
            </a:endParaRP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B8C43ED9-70FE-12A9-30DF-B9E8AA2C9EC0}"/>
              </a:ext>
            </a:extLst>
          </p:cNvPr>
          <p:cNvSpPr/>
          <p:nvPr/>
        </p:nvSpPr>
        <p:spPr>
          <a:xfrm>
            <a:off x="4840166" y="950910"/>
            <a:ext cx="3205163" cy="1570399"/>
          </a:xfrm>
          <a:prstGeom prst="roundRect">
            <a:avLst>
              <a:gd name="adj" fmla="val 333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769B9380-9D44-A276-3BE0-97EFD8E688F3}"/>
              </a:ext>
            </a:extLst>
          </p:cNvPr>
          <p:cNvSpPr txBox="1">
            <a:spLocks/>
          </p:cNvSpPr>
          <p:nvPr/>
        </p:nvSpPr>
        <p:spPr>
          <a:xfrm>
            <a:off x="5008948" y="1713154"/>
            <a:ext cx="2188391" cy="658238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F8EAA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HEX: #FF8200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F8EAA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F8EAA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C 0%   M 60%   Y 100%   K 0%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F8EAA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F8EAA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PMS: 2018 C</a:t>
            </a:r>
            <a:endParaRPr kumimoji="0" lang="en-NL" sz="600" b="0" i="0" u="none" strike="noStrike" kern="1200" cap="none" spc="140" normalizeH="0" baseline="0" noProof="0">
              <a:ln>
                <a:noFill/>
              </a:ln>
              <a:solidFill>
                <a:srgbClr val="F8EAA1"/>
              </a:solidFill>
              <a:effectLst/>
              <a:uLnTx/>
              <a:uFillTx/>
              <a:latin typeface="Archivo Medium" pitchFamily="2" charset="77"/>
              <a:cs typeface="Archivo Medium" pitchFamily="2" charset="77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10D9B44E-D4CF-A319-4616-AE2638534854}"/>
              </a:ext>
            </a:extLst>
          </p:cNvPr>
          <p:cNvSpPr txBox="1">
            <a:spLocks/>
          </p:cNvSpPr>
          <p:nvPr/>
        </p:nvSpPr>
        <p:spPr>
          <a:xfrm>
            <a:off x="5008948" y="1258886"/>
            <a:ext cx="2188391" cy="38282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140" normalizeH="0" baseline="0" noProof="0">
                <a:ln>
                  <a:noFill/>
                </a:ln>
                <a:solidFill>
                  <a:srgbClr val="F8EAA1"/>
                </a:solidFill>
                <a:effectLst/>
                <a:uLnTx/>
                <a:uFillTx/>
                <a:latin typeface="Archivo" pitchFamily="2" charset="77"/>
                <a:cs typeface="Archivo" pitchFamily="2" charset="77"/>
              </a:rPr>
              <a:t>orange</a:t>
            </a:r>
            <a:endParaRPr kumimoji="0" lang="en-NL" sz="1200" b="1" i="0" u="none" strike="noStrike" kern="1200" cap="none" spc="140" normalizeH="0" baseline="0" noProof="0">
              <a:ln>
                <a:noFill/>
              </a:ln>
              <a:solidFill>
                <a:srgbClr val="F8EAA1"/>
              </a:solidFill>
              <a:effectLst/>
              <a:uLnTx/>
              <a:uFillTx/>
              <a:latin typeface="Archivo" pitchFamily="2" charset="77"/>
              <a:cs typeface="Archivo" pitchFamily="2" charset="77"/>
            </a:endParaRP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D3530190-6888-7B26-8867-EC9BD0D673E4}"/>
              </a:ext>
            </a:extLst>
          </p:cNvPr>
          <p:cNvSpPr txBox="1">
            <a:spLocks/>
          </p:cNvSpPr>
          <p:nvPr/>
        </p:nvSpPr>
        <p:spPr>
          <a:xfrm>
            <a:off x="4987516" y="1071474"/>
            <a:ext cx="2188391" cy="28623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cs typeface="Archivo Black" pitchFamily="2" charset="77"/>
              </a:rPr>
              <a:t>Inspiring</a:t>
            </a:r>
            <a:endParaRPr kumimoji="0" lang="en-NL" sz="1800" b="0" i="0" u="none" strike="noStrike" kern="1200" cap="none" spc="14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veat" pitchFamily="2" charset="0"/>
              <a:cs typeface="Archivo Black" pitchFamily="2" charset="77"/>
            </a:endParaRP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1156D0F2-6521-2184-6E28-E02C8D202446}"/>
              </a:ext>
            </a:extLst>
          </p:cNvPr>
          <p:cNvSpPr/>
          <p:nvPr/>
        </p:nvSpPr>
        <p:spPr>
          <a:xfrm>
            <a:off x="8364538" y="950913"/>
            <a:ext cx="3205163" cy="1570399"/>
          </a:xfrm>
          <a:prstGeom prst="roundRect">
            <a:avLst>
              <a:gd name="adj" fmla="val 333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9F96A06E-00C1-6CFE-49A9-3A087D963865}"/>
              </a:ext>
            </a:extLst>
          </p:cNvPr>
          <p:cNvSpPr txBox="1">
            <a:spLocks/>
          </p:cNvSpPr>
          <p:nvPr/>
        </p:nvSpPr>
        <p:spPr>
          <a:xfrm>
            <a:off x="8533320" y="1713157"/>
            <a:ext cx="2188391" cy="658238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HEX: #62173E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C 48%   M 96%   Y 48%   K 42%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PMS: 2357 C</a:t>
            </a:r>
            <a:endParaRPr kumimoji="0" lang="en-NL" sz="600" b="0" i="0" u="none" strike="noStrike" kern="1200" cap="none" spc="140" normalizeH="0" baseline="0" noProof="0">
              <a:ln>
                <a:noFill/>
              </a:ln>
              <a:solidFill>
                <a:srgbClr val="E7A1F8"/>
              </a:solidFill>
              <a:effectLst/>
              <a:uLnTx/>
              <a:uFillTx/>
              <a:latin typeface="Archivo Medium" pitchFamily="2" charset="77"/>
              <a:cs typeface="Archivo Medium" pitchFamily="2" charset="77"/>
            </a:endParaRP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CFABEDEB-F15F-8D7D-0F6D-6DD635AE8DBD}"/>
              </a:ext>
            </a:extLst>
          </p:cNvPr>
          <p:cNvSpPr txBox="1">
            <a:spLocks/>
          </p:cNvSpPr>
          <p:nvPr/>
        </p:nvSpPr>
        <p:spPr>
          <a:xfrm>
            <a:off x="8533320" y="1258889"/>
            <a:ext cx="2188391" cy="38282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140" normalizeH="0" baseline="0" noProof="0">
                <a:ln>
                  <a:noFill/>
                </a:ln>
                <a:solidFill>
                  <a:srgbClr val="E7A1F8"/>
                </a:solidFill>
                <a:effectLst/>
                <a:uLnTx/>
                <a:uFillTx/>
                <a:latin typeface="Archivo" pitchFamily="2" charset="77"/>
                <a:cs typeface="Archivo" pitchFamily="2" charset="77"/>
              </a:rPr>
              <a:t>pink</a:t>
            </a:r>
            <a:endParaRPr kumimoji="0" lang="en-NL" sz="1200" b="1" i="0" u="none" strike="noStrike" kern="1200" cap="none" spc="140" normalizeH="0" baseline="0" noProof="0">
              <a:ln>
                <a:noFill/>
              </a:ln>
              <a:solidFill>
                <a:srgbClr val="E7A1F8"/>
              </a:solidFill>
              <a:effectLst/>
              <a:uLnTx/>
              <a:uFillTx/>
              <a:latin typeface="Archivo" pitchFamily="2" charset="77"/>
              <a:cs typeface="Archivo" pitchFamily="2" charset="77"/>
            </a:endParaRP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60B9CBD3-D64A-AF40-1F79-63BB92C4E73D}"/>
              </a:ext>
            </a:extLst>
          </p:cNvPr>
          <p:cNvSpPr txBox="1">
            <a:spLocks/>
          </p:cNvSpPr>
          <p:nvPr/>
        </p:nvSpPr>
        <p:spPr>
          <a:xfrm>
            <a:off x="8511888" y="1071477"/>
            <a:ext cx="2188391" cy="28623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cs typeface="Archivo Black" pitchFamily="2" charset="77"/>
              </a:rPr>
              <a:t>Personal</a:t>
            </a:r>
            <a:endParaRPr kumimoji="0" lang="en-NL" sz="1800" b="0" i="0" u="none" strike="noStrike" kern="1200" cap="none" spc="14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veat" pitchFamily="2" charset="0"/>
              <a:cs typeface="Archivo Black" pitchFamily="2" charset="77"/>
            </a:endParaRP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E922CF16-B8A6-5327-ED45-923F72BEF9F1}"/>
              </a:ext>
            </a:extLst>
          </p:cNvPr>
          <p:cNvSpPr/>
          <p:nvPr/>
        </p:nvSpPr>
        <p:spPr>
          <a:xfrm>
            <a:off x="4840166" y="3611471"/>
            <a:ext cx="3205163" cy="1570399"/>
          </a:xfrm>
          <a:prstGeom prst="roundRect">
            <a:avLst>
              <a:gd name="adj" fmla="val 3338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2EC1AAC0-8C02-97B4-C538-A0144544316F}"/>
              </a:ext>
            </a:extLst>
          </p:cNvPr>
          <p:cNvSpPr txBox="1">
            <a:spLocks/>
          </p:cNvSpPr>
          <p:nvPr/>
        </p:nvSpPr>
        <p:spPr>
          <a:xfrm>
            <a:off x="5008948" y="4373715"/>
            <a:ext cx="2341971" cy="658238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E2F8A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HEX: #186217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E2F8A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E2F8A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C 85%   M 35%   Y 100%   K 30%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E2F8A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E2F8A1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PMS: 2427 C</a:t>
            </a:r>
            <a:endParaRPr kumimoji="0" lang="en-NL" sz="600" b="0" i="0" u="none" strike="noStrike" kern="1200" cap="none" spc="140" normalizeH="0" baseline="0" noProof="0">
              <a:ln>
                <a:noFill/>
              </a:ln>
              <a:solidFill>
                <a:srgbClr val="E2F8A1"/>
              </a:solidFill>
              <a:effectLst/>
              <a:uLnTx/>
              <a:uFillTx/>
              <a:latin typeface="Archivo Medium" pitchFamily="2" charset="77"/>
              <a:cs typeface="Archivo Medium" pitchFamily="2" charset="77"/>
            </a:endParaRP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AF2A6511-6DCF-ECA6-5868-15DE4CC898CE}"/>
              </a:ext>
            </a:extLst>
          </p:cNvPr>
          <p:cNvSpPr txBox="1">
            <a:spLocks/>
          </p:cNvSpPr>
          <p:nvPr/>
        </p:nvSpPr>
        <p:spPr>
          <a:xfrm>
            <a:off x="5008948" y="3919447"/>
            <a:ext cx="2188391" cy="38282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140" normalizeH="0" baseline="0" noProof="0">
                <a:ln>
                  <a:noFill/>
                </a:ln>
                <a:solidFill>
                  <a:srgbClr val="E2F8A1"/>
                </a:solidFill>
                <a:effectLst/>
                <a:uLnTx/>
                <a:uFillTx/>
                <a:latin typeface="Archivo" pitchFamily="2" charset="77"/>
                <a:cs typeface="Archivo" pitchFamily="2" charset="77"/>
              </a:rPr>
              <a:t>green</a:t>
            </a:r>
            <a:endParaRPr kumimoji="0" lang="en-NL" sz="1200" b="1" i="0" u="none" strike="noStrike" kern="1200" cap="none" spc="140" normalizeH="0" baseline="0" noProof="0">
              <a:ln>
                <a:noFill/>
              </a:ln>
              <a:solidFill>
                <a:srgbClr val="E2F8A1"/>
              </a:solidFill>
              <a:effectLst/>
              <a:uLnTx/>
              <a:uFillTx/>
              <a:latin typeface="Archivo" pitchFamily="2" charset="77"/>
              <a:cs typeface="Archivo" pitchFamily="2" charset="77"/>
            </a:endParaRP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00F666E9-23D7-3B92-6377-CE445B33A7ED}"/>
              </a:ext>
            </a:extLst>
          </p:cNvPr>
          <p:cNvSpPr txBox="1">
            <a:spLocks/>
          </p:cNvSpPr>
          <p:nvPr/>
        </p:nvSpPr>
        <p:spPr>
          <a:xfrm>
            <a:off x="4987516" y="3732035"/>
            <a:ext cx="2188391" cy="28623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cs typeface="Archivo Black" pitchFamily="2" charset="77"/>
              </a:rPr>
              <a:t>Online</a:t>
            </a:r>
            <a:endParaRPr kumimoji="0" lang="en-NL" sz="1800" b="0" i="0" u="none" strike="noStrike" kern="1200" cap="none" spc="14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veat" pitchFamily="2" charset="0"/>
              <a:cs typeface="Archivo Black" pitchFamily="2" charset="77"/>
            </a:endParaRP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A69D3EAD-6F12-D92F-01E8-FB88BD88CABE}"/>
              </a:ext>
            </a:extLst>
          </p:cNvPr>
          <p:cNvSpPr/>
          <p:nvPr/>
        </p:nvSpPr>
        <p:spPr>
          <a:xfrm>
            <a:off x="8364538" y="3611474"/>
            <a:ext cx="3205163" cy="1570399"/>
          </a:xfrm>
          <a:prstGeom prst="roundRect">
            <a:avLst>
              <a:gd name="adj" fmla="val 3338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F866FD31-B7F7-27D0-A094-C2D2FE6DC43F}"/>
              </a:ext>
            </a:extLst>
          </p:cNvPr>
          <p:cNvSpPr txBox="1">
            <a:spLocks/>
          </p:cNvSpPr>
          <p:nvPr/>
        </p:nvSpPr>
        <p:spPr>
          <a:xfrm>
            <a:off x="8533320" y="4373718"/>
            <a:ext cx="2318036" cy="658238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A1D3F8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HEX: #171A62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A1D3F8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A1D3F8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C 100%   M 100%   Y 30%   K 25%</a:t>
            </a:r>
            <a:b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A1D3F8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</a:br>
            <a:r>
              <a:rPr kumimoji="0" lang="en-GB" sz="600" b="0" i="0" u="none" strike="noStrike" kern="1200" cap="none" spc="140" normalizeH="0" baseline="0" noProof="0">
                <a:ln>
                  <a:noFill/>
                </a:ln>
                <a:solidFill>
                  <a:srgbClr val="A1D3F8"/>
                </a:solidFill>
                <a:effectLst/>
                <a:uLnTx/>
                <a:uFillTx/>
                <a:latin typeface="Archivo Medium" pitchFamily="2" charset="77"/>
                <a:cs typeface="Archivo Medium" pitchFamily="2" charset="77"/>
              </a:rPr>
              <a:t>PMS: 2756 C</a:t>
            </a:r>
            <a:endParaRPr kumimoji="0" lang="en-NL" sz="600" b="0" i="0" u="none" strike="noStrike" kern="1200" cap="none" spc="14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rchivo Medium" pitchFamily="2" charset="77"/>
              <a:cs typeface="Archivo Medium" pitchFamily="2" charset="77"/>
            </a:endParaRP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2ABE472E-C1AD-E976-9A7A-49C3DC319DCC}"/>
              </a:ext>
            </a:extLst>
          </p:cNvPr>
          <p:cNvSpPr txBox="1">
            <a:spLocks/>
          </p:cNvSpPr>
          <p:nvPr/>
        </p:nvSpPr>
        <p:spPr>
          <a:xfrm>
            <a:off x="8533320" y="3919450"/>
            <a:ext cx="2188391" cy="38282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140" normalizeH="0" baseline="0" noProof="0">
                <a:ln>
                  <a:noFill/>
                </a:ln>
                <a:solidFill>
                  <a:srgbClr val="A1D3F8"/>
                </a:solidFill>
                <a:effectLst/>
                <a:uLnTx/>
                <a:uFillTx/>
                <a:latin typeface="Archivo" pitchFamily="2" charset="77"/>
                <a:cs typeface="Archivo" pitchFamily="2" charset="77"/>
              </a:rPr>
              <a:t>blue</a:t>
            </a:r>
            <a:endParaRPr kumimoji="0" lang="en-NL" sz="1200" b="1" i="0" u="none" strike="noStrike" kern="1200" cap="none" spc="14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rchivo" pitchFamily="2" charset="77"/>
              <a:cs typeface="Archivo" pitchFamily="2" charset="77"/>
            </a:endParaRP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2172B2D6-A30E-DD20-9AA1-0FADC148BFA2}"/>
              </a:ext>
            </a:extLst>
          </p:cNvPr>
          <p:cNvSpPr txBox="1">
            <a:spLocks/>
          </p:cNvSpPr>
          <p:nvPr/>
        </p:nvSpPr>
        <p:spPr>
          <a:xfrm>
            <a:off x="8511888" y="3732038"/>
            <a:ext cx="2188391" cy="28623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cs typeface="Archivo Black" pitchFamily="2" charset="77"/>
              </a:rPr>
              <a:t>Business</a:t>
            </a:r>
            <a:endParaRPr kumimoji="0" lang="en-NL" sz="1800" b="0" i="0" u="none" strike="noStrike" kern="1200" cap="none" spc="14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veat" pitchFamily="2" charset="0"/>
              <a:cs typeface="Archivo Black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745588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9BCD82-CF32-8F0E-0710-B11571B792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NL"/>
              <a:t>Hoofdstuk 1.5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C5594B-8043-1E8C-CB7E-FDAB2FD9AC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5605" y="1144740"/>
            <a:ext cx="5296545" cy="867930"/>
          </a:xfrm>
        </p:spPr>
        <p:txBody>
          <a:bodyPr/>
          <a:lstStyle/>
          <a:p>
            <a:r>
              <a:rPr lang="en-NL"/>
              <a:t>Stijlelementen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26C26BF9-1FAA-6C03-D57E-4A15DE81A777}"/>
              </a:ext>
            </a:extLst>
          </p:cNvPr>
          <p:cNvSpPr/>
          <p:nvPr/>
        </p:nvSpPr>
        <p:spPr>
          <a:xfrm>
            <a:off x="523731" y="5672216"/>
            <a:ext cx="1651298" cy="674703"/>
          </a:xfrm>
          <a:prstGeom prst="rect">
            <a:avLst/>
          </a:prstGeom>
          <a:solidFill>
            <a:srgbClr val="171A6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9339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3AB9BB3C-3FF9-2981-D9C6-011F2C0031A5}"/>
              </a:ext>
            </a:extLst>
          </p:cNvPr>
          <p:cNvSpPr>
            <a:spLocks noChangeAspect="1"/>
          </p:cNvSpPr>
          <p:nvPr/>
        </p:nvSpPr>
        <p:spPr>
          <a:xfrm>
            <a:off x="623888" y="4833438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73AE301F-EECF-DCBF-BB0E-68673AB05707}"/>
              </a:ext>
            </a:extLst>
          </p:cNvPr>
          <p:cNvSpPr>
            <a:spLocks noChangeAspect="1"/>
          </p:cNvSpPr>
          <p:nvPr/>
        </p:nvSpPr>
        <p:spPr>
          <a:xfrm>
            <a:off x="623888" y="3419505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CFD0534C-13F8-BC39-06A0-08C19CEAE7C8}"/>
              </a:ext>
            </a:extLst>
          </p:cNvPr>
          <p:cNvSpPr>
            <a:spLocks noChangeAspect="1"/>
          </p:cNvSpPr>
          <p:nvPr/>
        </p:nvSpPr>
        <p:spPr>
          <a:xfrm>
            <a:off x="623888" y="2005572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651BC346-9F21-3768-E4B0-9EFEC0D1849C}"/>
              </a:ext>
            </a:extLst>
          </p:cNvPr>
          <p:cNvSpPr>
            <a:spLocks noChangeAspect="1"/>
          </p:cNvSpPr>
          <p:nvPr/>
        </p:nvSpPr>
        <p:spPr>
          <a:xfrm>
            <a:off x="10488113" y="4833438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DEED6FE-85B6-B608-C0AC-566E49CEEEDF}"/>
              </a:ext>
            </a:extLst>
          </p:cNvPr>
          <p:cNvSpPr>
            <a:spLocks noChangeAspect="1"/>
          </p:cNvSpPr>
          <p:nvPr/>
        </p:nvSpPr>
        <p:spPr>
          <a:xfrm>
            <a:off x="10488113" y="3419505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82AFB04F-4F51-9CD8-8E82-3E82EFB9C01F}"/>
              </a:ext>
            </a:extLst>
          </p:cNvPr>
          <p:cNvSpPr>
            <a:spLocks noChangeAspect="1"/>
          </p:cNvSpPr>
          <p:nvPr/>
        </p:nvSpPr>
        <p:spPr>
          <a:xfrm>
            <a:off x="10488113" y="2005572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0AFD0F74-6FF8-DDFD-3858-D0B9DB2BDC83}"/>
              </a:ext>
            </a:extLst>
          </p:cNvPr>
          <p:cNvSpPr>
            <a:spLocks noChangeAspect="1"/>
          </p:cNvSpPr>
          <p:nvPr/>
        </p:nvSpPr>
        <p:spPr>
          <a:xfrm>
            <a:off x="5555999" y="4833438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962E9DC2-3E94-3A61-4E8E-7DBCA901A1F0}"/>
              </a:ext>
            </a:extLst>
          </p:cNvPr>
          <p:cNvSpPr>
            <a:spLocks noChangeAspect="1"/>
          </p:cNvSpPr>
          <p:nvPr/>
        </p:nvSpPr>
        <p:spPr>
          <a:xfrm>
            <a:off x="5555999" y="3419505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3635110D-F6F9-840D-B7D6-8CB1F8653FD4}"/>
              </a:ext>
            </a:extLst>
          </p:cNvPr>
          <p:cNvSpPr>
            <a:spLocks noChangeAspect="1"/>
          </p:cNvSpPr>
          <p:nvPr/>
        </p:nvSpPr>
        <p:spPr>
          <a:xfrm>
            <a:off x="5555999" y="2005572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357CC15D-B9C6-50FA-4229-3E43F58D7544}"/>
              </a:ext>
            </a:extLst>
          </p:cNvPr>
          <p:cNvSpPr>
            <a:spLocks noChangeAspect="1"/>
          </p:cNvSpPr>
          <p:nvPr/>
        </p:nvSpPr>
        <p:spPr>
          <a:xfrm>
            <a:off x="3911962" y="4833438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C4FBAA97-5E0D-B092-E287-28F9B225DBA0}"/>
              </a:ext>
            </a:extLst>
          </p:cNvPr>
          <p:cNvSpPr>
            <a:spLocks noChangeAspect="1"/>
          </p:cNvSpPr>
          <p:nvPr/>
        </p:nvSpPr>
        <p:spPr>
          <a:xfrm>
            <a:off x="3911962" y="3419505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5B80A5C5-6A99-4B4E-7EFF-07BFF449C9F2}"/>
              </a:ext>
            </a:extLst>
          </p:cNvPr>
          <p:cNvSpPr>
            <a:spLocks noChangeAspect="1"/>
          </p:cNvSpPr>
          <p:nvPr/>
        </p:nvSpPr>
        <p:spPr>
          <a:xfrm>
            <a:off x="3911962" y="2005572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618B0D53-222D-7BB7-F03F-C44A1C98F4CD}"/>
              </a:ext>
            </a:extLst>
          </p:cNvPr>
          <p:cNvSpPr>
            <a:spLocks noChangeAspect="1"/>
          </p:cNvSpPr>
          <p:nvPr/>
        </p:nvSpPr>
        <p:spPr>
          <a:xfrm>
            <a:off x="2267925" y="4833438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FD2B1CFA-854A-9EA8-F865-EABEC3440AA8}"/>
              </a:ext>
            </a:extLst>
          </p:cNvPr>
          <p:cNvSpPr>
            <a:spLocks noChangeAspect="1"/>
          </p:cNvSpPr>
          <p:nvPr/>
        </p:nvSpPr>
        <p:spPr>
          <a:xfrm>
            <a:off x="2267925" y="3419505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5AF3CB25-F175-4E3C-1FAE-491E8799CA1A}"/>
              </a:ext>
            </a:extLst>
          </p:cNvPr>
          <p:cNvSpPr>
            <a:spLocks noChangeAspect="1"/>
          </p:cNvSpPr>
          <p:nvPr/>
        </p:nvSpPr>
        <p:spPr>
          <a:xfrm>
            <a:off x="2267925" y="2005572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6325DA39-AA9C-AD3A-94CD-865DE2C02C9C}"/>
              </a:ext>
            </a:extLst>
          </p:cNvPr>
          <p:cNvSpPr>
            <a:spLocks noChangeAspect="1"/>
          </p:cNvSpPr>
          <p:nvPr/>
        </p:nvSpPr>
        <p:spPr>
          <a:xfrm>
            <a:off x="7200036" y="4833438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41BC7873-8AAF-23A2-403C-1DA3B45B2535}"/>
              </a:ext>
            </a:extLst>
          </p:cNvPr>
          <p:cNvSpPr>
            <a:spLocks noChangeAspect="1"/>
          </p:cNvSpPr>
          <p:nvPr/>
        </p:nvSpPr>
        <p:spPr>
          <a:xfrm>
            <a:off x="7200036" y="3419505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9B8621EF-B22A-365D-DA1E-9EFACDAD415F}"/>
              </a:ext>
            </a:extLst>
          </p:cNvPr>
          <p:cNvSpPr>
            <a:spLocks noChangeAspect="1"/>
          </p:cNvSpPr>
          <p:nvPr/>
        </p:nvSpPr>
        <p:spPr>
          <a:xfrm>
            <a:off x="7200036" y="2005572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D1C27FA3-F05D-4877-E59E-8F47A899DE0A}"/>
              </a:ext>
            </a:extLst>
          </p:cNvPr>
          <p:cNvSpPr>
            <a:spLocks noChangeAspect="1"/>
          </p:cNvSpPr>
          <p:nvPr/>
        </p:nvSpPr>
        <p:spPr>
          <a:xfrm>
            <a:off x="8844073" y="4833438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9DE1B2F5-92CB-1476-A3CE-D962860939AA}"/>
              </a:ext>
            </a:extLst>
          </p:cNvPr>
          <p:cNvSpPr>
            <a:spLocks noChangeAspect="1"/>
          </p:cNvSpPr>
          <p:nvPr/>
        </p:nvSpPr>
        <p:spPr>
          <a:xfrm>
            <a:off x="8844073" y="3419505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58F08654-C8A6-FFA4-8D0E-A2DEBDDB7437}"/>
              </a:ext>
            </a:extLst>
          </p:cNvPr>
          <p:cNvSpPr>
            <a:spLocks noChangeAspect="1"/>
          </p:cNvSpPr>
          <p:nvPr/>
        </p:nvSpPr>
        <p:spPr>
          <a:xfrm>
            <a:off x="8844073" y="2005572"/>
            <a:ext cx="1080000" cy="1080000"/>
          </a:xfrm>
          <a:prstGeom prst="roundRect">
            <a:avLst>
              <a:gd name="adj" fmla="val 657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7624C3E7-4849-77F3-3F6B-1735A166E7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3388" y="2355072"/>
            <a:ext cx="381000" cy="3810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E453F915-B3E3-B3D6-7555-764942094A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17425" y="3769605"/>
            <a:ext cx="381000" cy="3810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22438002-EDCE-F00B-5D6B-E56ED17C2C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05500" y="2355072"/>
            <a:ext cx="381000" cy="3810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13295017-8305-46C7-7707-74A7627BBD9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61462" y="2355072"/>
            <a:ext cx="381000" cy="3810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214C7539-44F5-5AB2-F5C0-8D53C6D05B0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56455" y="5182938"/>
            <a:ext cx="381000" cy="3810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B46378DA-A06E-5F72-E897-121F50584C9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60688" y="3769005"/>
            <a:ext cx="381600" cy="38160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BFD2474E-54BB-88C8-BC53-75C8A3C05A0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617425" y="2355072"/>
            <a:ext cx="381000" cy="3810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9D236FE7-54E2-31F6-C9AA-466CC556B1B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837313" y="5182338"/>
            <a:ext cx="381600" cy="3816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1EC7375A-C8BD-ED38-30F6-CBA086CC8DA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193273" y="3769005"/>
            <a:ext cx="381600" cy="3816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93B9ECB-C48E-0E64-2550-28397CA0FA4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904900" y="3769005"/>
            <a:ext cx="381600" cy="3816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96FE7C7C-F1A2-57F2-78F5-27162BFF62F0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549236" y="3769005"/>
            <a:ext cx="381600" cy="38160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0814EB66-4EDF-6C9F-F6C5-5FAB69DBBD57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549236" y="5182338"/>
            <a:ext cx="381600" cy="381600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969775D5-1DB1-14D2-58B9-318AA875E400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841245" y="2354472"/>
            <a:ext cx="381600" cy="3816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DBBED1A5-DA77-463C-7C43-C5B27EFE588C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905500" y="5182338"/>
            <a:ext cx="381600" cy="3816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EF97E32B-3B3B-A705-9474-8ADB929E665A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193273" y="5182338"/>
            <a:ext cx="381600" cy="3816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8E970720-CF0C-27DE-40E3-29E3065043E5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261462" y="5182338"/>
            <a:ext cx="381600" cy="3816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2D27C6DE-86B7-581D-3704-6EE3DECE1EAD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9193273" y="2354472"/>
            <a:ext cx="381600" cy="38160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C07AF0E9-B68A-D706-B5FF-65578AD50E5D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0837313" y="3769005"/>
            <a:ext cx="381600" cy="381600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5EFC269C-29B4-EF92-F49C-EC06404F4858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7549236" y="2354472"/>
            <a:ext cx="381600" cy="3816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0C4AAE7C-4FB5-BCBC-F7D7-8C8E377C2563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4261462" y="3769005"/>
            <a:ext cx="381600" cy="38160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1E95F04A-7540-804C-1898-E0D707CE1BE6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2616825" y="5182938"/>
            <a:ext cx="381600" cy="381600"/>
          </a:xfrm>
          <a:prstGeom prst="rect">
            <a:avLst/>
          </a:prstGeom>
        </p:spPr>
      </p:pic>
      <p:sp>
        <p:nvSpPr>
          <p:cNvPr id="72" name="Rounded Rectangle 71">
            <a:hlinkClick r:id="rId45"/>
            <a:extLst>
              <a:ext uri="{FF2B5EF4-FFF2-40B4-BE49-F238E27FC236}">
                <a16:creationId xmlns:a16="http://schemas.microsoft.com/office/drawing/2014/main" id="{D131E6BF-4F13-AF63-A1DA-D964CCFB678F}"/>
              </a:ext>
            </a:extLst>
          </p:cNvPr>
          <p:cNvSpPr/>
          <p:nvPr/>
        </p:nvSpPr>
        <p:spPr>
          <a:xfrm>
            <a:off x="623890" y="620713"/>
            <a:ext cx="1338918" cy="3238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900" b="0" i="0" u="sng" strike="noStrike" kern="1200" cap="none" spc="80" normalizeH="0" baseline="0" noProof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Archivo Medium" pitchFamily="2" charset="77"/>
                <a:ea typeface="+mn-ea"/>
                <a:cs typeface="Archivo Medium" pitchFamily="2" charset="77"/>
              </a:rPr>
              <a:t>Meer </a:t>
            </a:r>
            <a:r>
              <a:rPr kumimoji="0" lang="en-NL" sz="900" b="0" i="0" u="sng" strike="noStrike" kern="1200" cap="none" spc="80" normalizeH="0" baseline="0" noProof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Archivo Medium" pitchFamily="2" charset="77"/>
                <a:ea typeface="+mn-ea"/>
                <a:cs typeface="Archivo Medium" pitchFamily="2" charset="77"/>
              </a:rPr>
              <a:t>iconen</a:t>
            </a:r>
          </a:p>
        </p:txBody>
      </p:sp>
      <p:pic>
        <p:nvPicPr>
          <p:cNvPr id="74" name="Graphic 73">
            <a:extLst>
              <a:ext uri="{FF2B5EF4-FFF2-40B4-BE49-F238E27FC236}">
                <a16:creationId xmlns:a16="http://schemas.microsoft.com/office/drawing/2014/main" id="{1A949EB6-553E-4ACF-0FF2-2C110B4AB278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608526" y="672511"/>
            <a:ext cx="228600" cy="2286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6A03703-848A-3625-97AE-2D0C7D14DF8D}"/>
              </a:ext>
            </a:extLst>
          </p:cNvPr>
          <p:cNvSpPr txBox="1">
            <a:spLocks/>
          </p:cNvSpPr>
          <p:nvPr/>
        </p:nvSpPr>
        <p:spPr>
          <a:xfrm>
            <a:off x="512443" y="1091800"/>
            <a:ext cx="7188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 b="1" i="0" kern="1200">
                <a:solidFill>
                  <a:schemeClr val="tx1"/>
                </a:solidFill>
                <a:latin typeface="Archivo" pitchFamily="2" charset="77"/>
                <a:ea typeface="+mn-ea"/>
                <a:cs typeface="Archivo" pitchFamily="2" charset="77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L" sz="4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chivo" pitchFamily="2" charset="77"/>
                <a:ea typeface="+mn-ea"/>
                <a:cs typeface="Archivo" pitchFamily="2" charset="77"/>
              </a:rPr>
              <a:t>Iconen</a:t>
            </a:r>
          </a:p>
        </p:txBody>
      </p:sp>
    </p:spTree>
    <p:extLst>
      <p:ext uri="{BB962C8B-B14F-4D97-AF65-F5344CB8AC3E}">
        <p14:creationId xmlns:p14="http://schemas.microsoft.com/office/powerpoint/2010/main" val="2764913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B9943C23-F11D-D87B-B4F4-BC42111C8D77}"/>
              </a:ext>
            </a:extLst>
          </p:cNvPr>
          <p:cNvSpPr/>
          <p:nvPr/>
        </p:nvSpPr>
        <p:spPr>
          <a:xfrm>
            <a:off x="0" y="0"/>
            <a:ext cx="12192000" cy="6357428"/>
          </a:xfrm>
          <a:prstGeom prst="rect">
            <a:avLst/>
          </a:prstGeom>
          <a:solidFill>
            <a:srgbClr val="E7A1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3A2E2C00-9A66-B17B-9C43-7BF7027AF63A}"/>
              </a:ext>
            </a:extLst>
          </p:cNvPr>
          <p:cNvSpPr/>
          <p:nvPr/>
        </p:nvSpPr>
        <p:spPr>
          <a:xfrm>
            <a:off x="345782" y="391465"/>
            <a:ext cx="11440198" cy="5944697"/>
          </a:xfrm>
          <a:prstGeom prst="roundRect">
            <a:avLst>
              <a:gd name="adj" fmla="val 277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61173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" name="Rounded Rectangle 1">
            <a:extLst>
              <a:ext uri="{FF2B5EF4-FFF2-40B4-BE49-F238E27FC236}">
                <a16:creationId xmlns:a16="http://schemas.microsoft.com/office/drawing/2014/main" id="{533B59A7-6DBD-3240-5FB6-4A139E177AF1}"/>
              </a:ext>
            </a:extLst>
          </p:cNvPr>
          <p:cNvSpPr/>
          <p:nvPr/>
        </p:nvSpPr>
        <p:spPr>
          <a:xfrm>
            <a:off x="3875315" y="679383"/>
            <a:ext cx="7537000" cy="1271702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42A64C-0907-40D2-0D23-DFE8002794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31283" y="1091800"/>
            <a:ext cx="3055946" cy="1754326"/>
          </a:xfrm>
        </p:spPr>
        <p:txBody>
          <a:bodyPr/>
          <a:lstStyle/>
          <a:p>
            <a:r>
              <a:rPr lang="nl-NL" dirty="0">
                <a:solidFill>
                  <a:schemeClr val="bg1"/>
                </a:solidFill>
              </a:rPr>
              <a:t>Wat mijn collega’s zeggen…</a:t>
            </a:r>
            <a:endParaRPr lang="en-NL">
              <a:solidFill>
                <a:schemeClr val="bg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FC5D099-3562-E7D1-1565-B8CBC093B4C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190050" y="1204143"/>
            <a:ext cx="4730038" cy="712199"/>
          </a:xfrm>
        </p:spPr>
        <p:txBody>
          <a:bodyPr/>
          <a:lstStyle/>
          <a:p>
            <a:r>
              <a:rPr lang="en-GB" sz="1050" dirty="0">
                <a:solidFill>
                  <a:schemeClr val="accent1"/>
                </a:solidFill>
              </a:rPr>
              <a:t>“Direct </a:t>
            </a:r>
            <a:r>
              <a:rPr lang="en-GB" sz="1050" dirty="0" err="1">
                <a:solidFill>
                  <a:schemeClr val="accent1"/>
                </a:solidFill>
              </a:rPr>
              <a:t>sinds</a:t>
            </a:r>
            <a:r>
              <a:rPr lang="en-GB" sz="1050" dirty="0">
                <a:solidFill>
                  <a:schemeClr val="accent1"/>
                </a:solidFill>
              </a:rPr>
              <a:t> </a:t>
            </a:r>
            <a:r>
              <a:rPr lang="en-GB" sz="1050" dirty="0" err="1">
                <a:solidFill>
                  <a:schemeClr val="accent1"/>
                </a:solidFill>
              </a:rPr>
              <a:t>mijn</a:t>
            </a:r>
            <a:r>
              <a:rPr lang="en-GB" sz="1050" dirty="0">
                <a:solidFill>
                  <a:schemeClr val="accent1"/>
                </a:solidFill>
              </a:rPr>
              <a:t> start </a:t>
            </a:r>
            <a:r>
              <a:rPr lang="en-GB" sz="1050" dirty="0" err="1">
                <a:solidFill>
                  <a:schemeClr val="accent1"/>
                </a:solidFill>
              </a:rPr>
              <a:t>bij</a:t>
            </a:r>
            <a:r>
              <a:rPr lang="en-GB" sz="1050" dirty="0">
                <a:solidFill>
                  <a:schemeClr val="accent1"/>
                </a:solidFill>
              </a:rPr>
              <a:t> DZG </a:t>
            </a:r>
            <a:r>
              <a:rPr lang="en-GB" sz="1050" dirty="0" err="1">
                <a:solidFill>
                  <a:schemeClr val="accent1"/>
                </a:solidFill>
              </a:rPr>
              <a:t>voel</a:t>
            </a:r>
            <a:r>
              <a:rPr lang="en-GB" sz="1050" dirty="0">
                <a:solidFill>
                  <a:schemeClr val="accent1"/>
                </a:solidFill>
              </a:rPr>
              <a:t> </a:t>
            </a:r>
            <a:r>
              <a:rPr lang="en-GB" sz="1050" dirty="0" err="1">
                <a:solidFill>
                  <a:schemeClr val="accent1"/>
                </a:solidFill>
              </a:rPr>
              <a:t>ik</a:t>
            </a:r>
            <a:r>
              <a:rPr lang="en-GB" sz="1050" dirty="0">
                <a:solidFill>
                  <a:schemeClr val="accent1"/>
                </a:solidFill>
              </a:rPr>
              <a:t> de </a:t>
            </a:r>
            <a:r>
              <a:rPr lang="en-GB" sz="1050" dirty="0" err="1">
                <a:solidFill>
                  <a:schemeClr val="accent1"/>
                </a:solidFill>
              </a:rPr>
              <a:t>saamhorigheid</a:t>
            </a:r>
            <a:r>
              <a:rPr lang="en-GB" sz="1050" dirty="0">
                <a:solidFill>
                  <a:schemeClr val="accent1"/>
                </a:solidFill>
              </a:rPr>
              <a:t> </a:t>
            </a:r>
            <a:r>
              <a:rPr lang="en-GB" sz="1050" dirty="0" err="1">
                <a:solidFill>
                  <a:schemeClr val="accent1"/>
                </a:solidFill>
              </a:rPr>
              <a:t>en</a:t>
            </a:r>
            <a:r>
              <a:rPr lang="en-GB" sz="1050" dirty="0">
                <a:solidFill>
                  <a:schemeClr val="accent1"/>
                </a:solidFill>
              </a:rPr>
              <a:t> </a:t>
            </a:r>
            <a:r>
              <a:rPr lang="en-GB" sz="1050" dirty="0" err="1">
                <a:solidFill>
                  <a:schemeClr val="accent1"/>
                </a:solidFill>
              </a:rPr>
              <a:t>teamspirit</a:t>
            </a:r>
            <a:r>
              <a:rPr lang="en-GB" sz="1050" dirty="0">
                <a:solidFill>
                  <a:schemeClr val="accent1"/>
                </a:solidFill>
              </a:rPr>
              <a:t> </a:t>
            </a:r>
            <a:r>
              <a:rPr lang="en-GB" sz="1050" dirty="0" err="1">
                <a:solidFill>
                  <a:schemeClr val="accent1"/>
                </a:solidFill>
              </a:rPr>
              <a:t>en</a:t>
            </a:r>
            <a:r>
              <a:rPr lang="en-GB" sz="1050" dirty="0">
                <a:solidFill>
                  <a:schemeClr val="accent1"/>
                </a:solidFill>
              </a:rPr>
              <a:t> </a:t>
            </a:r>
            <a:r>
              <a:rPr lang="en-GB" sz="1050" dirty="0" err="1">
                <a:solidFill>
                  <a:schemeClr val="accent1"/>
                </a:solidFill>
              </a:rPr>
              <a:t>dat</a:t>
            </a:r>
            <a:r>
              <a:rPr lang="en-GB" sz="1050" dirty="0">
                <a:solidFill>
                  <a:schemeClr val="accent1"/>
                </a:solidFill>
              </a:rPr>
              <a:t> </a:t>
            </a:r>
            <a:r>
              <a:rPr lang="en-GB" sz="1050" dirty="0" err="1">
                <a:solidFill>
                  <a:schemeClr val="accent1"/>
                </a:solidFill>
              </a:rPr>
              <a:t>motiveert</a:t>
            </a:r>
            <a:r>
              <a:rPr lang="en-GB" sz="1050" dirty="0">
                <a:solidFill>
                  <a:schemeClr val="accent1"/>
                </a:solidFill>
              </a:rPr>
              <a:t> </a:t>
            </a:r>
            <a:r>
              <a:rPr lang="en-GB" sz="1050" dirty="0" err="1">
                <a:solidFill>
                  <a:schemeClr val="accent1"/>
                </a:solidFill>
              </a:rPr>
              <a:t>mij</a:t>
            </a:r>
            <a:r>
              <a:rPr lang="en-GB" sz="1050" dirty="0">
                <a:solidFill>
                  <a:schemeClr val="accent1"/>
                </a:solidFill>
              </a:rPr>
              <a:t> </a:t>
            </a:r>
            <a:r>
              <a:rPr lang="en-GB" sz="1050" dirty="0" err="1">
                <a:solidFill>
                  <a:schemeClr val="accent1"/>
                </a:solidFill>
              </a:rPr>
              <a:t>en</a:t>
            </a:r>
            <a:r>
              <a:rPr lang="en-GB" sz="1050" dirty="0">
                <a:solidFill>
                  <a:schemeClr val="accent1"/>
                </a:solidFill>
              </a:rPr>
              <a:t> </a:t>
            </a:r>
            <a:r>
              <a:rPr lang="en-GB" sz="1050" dirty="0" err="1">
                <a:solidFill>
                  <a:schemeClr val="accent1"/>
                </a:solidFill>
              </a:rPr>
              <a:t>haalt</a:t>
            </a:r>
            <a:r>
              <a:rPr lang="en-GB" sz="1050" dirty="0">
                <a:solidFill>
                  <a:schemeClr val="accent1"/>
                </a:solidFill>
              </a:rPr>
              <a:t> het </a:t>
            </a:r>
            <a:r>
              <a:rPr lang="en-GB" sz="1050" dirty="0" err="1">
                <a:solidFill>
                  <a:schemeClr val="accent1"/>
                </a:solidFill>
              </a:rPr>
              <a:t>beste</a:t>
            </a:r>
            <a:r>
              <a:rPr lang="en-GB" sz="1050" dirty="0">
                <a:solidFill>
                  <a:schemeClr val="accent1"/>
                </a:solidFill>
              </a:rPr>
              <a:t> </a:t>
            </a:r>
            <a:r>
              <a:rPr lang="en-GB" sz="1050" dirty="0" err="1">
                <a:solidFill>
                  <a:schemeClr val="accent1"/>
                </a:solidFill>
              </a:rPr>
              <a:t>uit</a:t>
            </a:r>
            <a:r>
              <a:rPr lang="en-GB" sz="1050" dirty="0">
                <a:solidFill>
                  <a:schemeClr val="accent1"/>
                </a:solidFill>
              </a:rPr>
              <a:t> </a:t>
            </a:r>
            <a:r>
              <a:rPr lang="en-GB" sz="1050" dirty="0" err="1">
                <a:solidFill>
                  <a:schemeClr val="accent1"/>
                </a:solidFill>
              </a:rPr>
              <a:t>mij</a:t>
            </a:r>
            <a:r>
              <a:rPr lang="en-GB" sz="1050" dirty="0">
                <a:solidFill>
                  <a:schemeClr val="accent1"/>
                </a:solidFill>
              </a:rPr>
              <a:t> </a:t>
            </a:r>
            <a:r>
              <a:rPr lang="en-GB" sz="1050" dirty="0" err="1">
                <a:solidFill>
                  <a:schemeClr val="accent1"/>
                </a:solidFill>
              </a:rPr>
              <a:t>boven</a:t>
            </a:r>
            <a:r>
              <a:rPr lang="en-GB" sz="1050" dirty="0">
                <a:solidFill>
                  <a:schemeClr val="accent1"/>
                </a:solidFill>
              </a:rPr>
              <a:t>.”</a:t>
            </a:r>
          </a:p>
        </p:txBody>
      </p:sp>
      <p:sp>
        <p:nvSpPr>
          <p:cNvPr id="22" name="Rounded Rectangle 1">
            <a:extLst>
              <a:ext uri="{FF2B5EF4-FFF2-40B4-BE49-F238E27FC236}">
                <a16:creationId xmlns:a16="http://schemas.microsoft.com/office/drawing/2014/main" id="{B7B8F462-417D-A6AE-8BFF-09647D788D01}"/>
              </a:ext>
            </a:extLst>
          </p:cNvPr>
          <p:cNvSpPr/>
          <p:nvPr/>
        </p:nvSpPr>
        <p:spPr>
          <a:xfrm>
            <a:off x="3875315" y="2046177"/>
            <a:ext cx="7537000" cy="1271702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E447658A-5B1F-334C-0FCC-75FBFC89DE5D}"/>
              </a:ext>
            </a:extLst>
          </p:cNvPr>
          <p:cNvSpPr txBox="1">
            <a:spLocks/>
          </p:cNvSpPr>
          <p:nvPr/>
        </p:nvSpPr>
        <p:spPr>
          <a:xfrm>
            <a:off x="5190050" y="2570937"/>
            <a:ext cx="4630146" cy="712199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b="0" i="0" kern="120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“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Ik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genie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van de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vrijheid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het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vertrouw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da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ik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heb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om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datgene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te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do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wat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nodig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is om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mij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klan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te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help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.”</a:t>
            </a:r>
          </a:p>
        </p:txBody>
      </p:sp>
      <p:sp>
        <p:nvSpPr>
          <p:cNvPr id="26" name="Rounded Rectangle 1">
            <a:extLst>
              <a:ext uri="{FF2B5EF4-FFF2-40B4-BE49-F238E27FC236}">
                <a16:creationId xmlns:a16="http://schemas.microsoft.com/office/drawing/2014/main" id="{E20E89E1-6F54-C596-E766-3924C9D88D44}"/>
              </a:ext>
            </a:extLst>
          </p:cNvPr>
          <p:cNvSpPr/>
          <p:nvPr/>
        </p:nvSpPr>
        <p:spPr>
          <a:xfrm>
            <a:off x="3875315" y="3412971"/>
            <a:ext cx="7537000" cy="1271702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5B193D97-C21B-1157-94E0-7636F5082240}"/>
              </a:ext>
            </a:extLst>
          </p:cNvPr>
          <p:cNvSpPr txBox="1">
            <a:spLocks/>
          </p:cNvSpPr>
          <p:nvPr/>
        </p:nvSpPr>
        <p:spPr>
          <a:xfrm>
            <a:off x="5190049" y="3937731"/>
            <a:ext cx="5736647" cy="712199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b="0" i="0" kern="120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“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Natuurlijk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gaa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er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ook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wel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iets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mis maar dan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geld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bij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ons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: “fix first, settle later”.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Dus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snel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met het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probleem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aa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de slag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zonder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allerlei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discussies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.”</a:t>
            </a:r>
          </a:p>
        </p:txBody>
      </p:sp>
      <p:sp>
        <p:nvSpPr>
          <p:cNvPr id="37" name="Rounded Rectangle 1">
            <a:extLst>
              <a:ext uri="{FF2B5EF4-FFF2-40B4-BE49-F238E27FC236}">
                <a16:creationId xmlns:a16="http://schemas.microsoft.com/office/drawing/2014/main" id="{9C81A60F-07B6-9130-9AF3-B917E1CD1B73}"/>
              </a:ext>
            </a:extLst>
          </p:cNvPr>
          <p:cNvSpPr/>
          <p:nvPr/>
        </p:nvSpPr>
        <p:spPr>
          <a:xfrm>
            <a:off x="3875315" y="4779765"/>
            <a:ext cx="7537000" cy="1271702"/>
          </a:xfrm>
          <a:prstGeom prst="roundRect">
            <a:avLst>
              <a:gd name="adj" fmla="val 2779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7616ECCA-F46C-B72C-EC6D-B35304B54C82}"/>
              </a:ext>
            </a:extLst>
          </p:cNvPr>
          <p:cNvSpPr txBox="1">
            <a:spLocks/>
          </p:cNvSpPr>
          <p:nvPr/>
        </p:nvSpPr>
        <p:spPr>
          <a:xfrm>
            <a:off x="5190050" y="5304525"/>
            <a:ext cx="5160344" cy="712199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b="0" i="0" kern="1200">
                <a:solidFill>
                  <a:srgbClr val="666666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“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Ik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krijg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er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nog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steeds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e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kick van om met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ons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brede portfolio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sam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met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klant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te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werk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aa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ee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optimale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 ICT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omgeving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1173E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. “</a:t>
            </a:r>
          </a:p>
        </p:txBody>
      </p:sp>
      <p:sp>
        <p:nvSpPr>
          <p:cNvPr id="46" name="Tekstvak 45">
            <a:extLst>
              <a:ext uri="{FF2B5EF4-FFF2-40B4-BE49-F238E27FC236}">
                <a16:creationId xmlns:a16="http://schemas.microsoft.com/office/drawing/2014/main" id="{794D7EE3-7851-ECBE-30D3-85CF4A53ECC7}"/>
              </a:ext>
            </a:extLst>
          </p:cNvPr>
          <p:cNvSpPr txBox="1"/>
          <p:nvPr/>
        </p:nvSpPr>
        <p:spPr>
          <a:xfrm>
            <a:off x="5190049" y="939665"/>
            <a:ext cx="3589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Servicedesk medewerker</a:t>
            </a:r>
          </a:p>
        </p:txBody>
      </p:sp>
      <p:sp>
        <p:nvSpPr>
          <p:cNvPr id="47" name="Tekstvak 46">
            <a:extLst>
              <a:ext uri="{FF2B5EF4-FFF2-40B4-BE49-F238E27FC236}">
                <a16:creationId xmlns:a16="http://schemas.microsoft.com/office/drawing/2014/main" id="{FEBA5AF4-0D29-58D6-3A18-B724D8B92742}"/>
              </a:ext>
            </a:extLst>
          </p:cNvPr>
          <p:cNvSpPr txBox="1"/>
          <p:nvPr/>
        </p:nvSpPr>
        <p:spPr>
          <a:xfrm>
            <a:off x="5190049" y="2294332"/>
            <a:ext cx="24895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Projectmanager</a:t>
            </a:r>
          </a:p>
        </p:txBody>
      </p:sp>
      <p:sp>
        <p:nvSpPr>
          <p:cNvPr id="48" name="Tekstvak 47">
            <a:extLst>
              <a:ext uri="{FF2B5EF4-FFF2-40B4-BE49-F238E27FC236}">
                <a16:creationId xmlns:a16="http://schemas.microsoft.com/office/drawing/2014/main" id="{EE5D2515-FAD2-1B14-EFC2-AD93CA2193BA}"/>
              </a:ext>
            </a:extLst>
          </p:cNvPr>
          <p:cNvSpPr txBox="1"/>
          <p:nvPr/>
        </p:nvSpPr>
        <p:spPr>
          <a:xfrm>
            <a:off x="5190048" y="3657465"/>
            <a:ext cx="27093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Consultant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BA61E37D-C9E5-8242-0FD9-992C7B149F44}"/>
              </a:ext>
            </a:extLst>
          </p:cNvPr>
          <p:cNvSpPr txBox="1"/>
          <p:nvPr/>
        </p:nvSpPr>
        <p:spPr>
          <a:xfrm>
            <a:off x="5190049" y="5020598"/>
            <a:ext cx="1532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Jezelf</a:t>
            </a:r>
          </a:p>
        </p:txBody>
      </p:sp>
      <p:sp>
        <p:nvSpPr>
          <p:cNvPr id="43" name="Ovaal 42">
            <a:extLst>
              <a:ext uri="{FF2B5EF4-FFF2-40B4-BE49-F238E27FC236}">
                <a16:creationId xmlns:a16="http://schemas.microsoft.com/office/drawing/2014/main" id="{4E5E4095-EF4E-CC12-3945-D2618365A658}"/>
              </a:ext>
            </a:extLst>
          </p:cNvPr>
          <p:cNvSpPr>
            <a:spLocks noChangeAspect="1"/>
          </p:cNvSpPr>
          <p:nvPr/>
        </p:nvSpPr>
        <p:spPr>
          <a:xfrm>
            <a:off x="4132657" y="4992141"/>
            <a:ext cx="925200" cy="925200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Ovaal 3">
            <a:extLst>
              <a:ext uri="{FF2B5EF4-FFF2-40B4-BE49-F238E27FC236}">
                <a16:creationId xmlns:a16="http://schemas.microsoft.com/office/drawing/2014/main" id="{D2FCB531-6E30-CDC8-E946-DCA0B90B8D9F}"/>
              </a:ext>
            </a:extLst>
          </p:cNvPr>
          <p:cNvSpPr/>
          <p:nvPr/>
        </p:nvSpPr>
        <p:spPr>
          <a:xfrm>
            <a:off x="4158959" y="916466"/>
            <a:ext cx="896052" cy="925200"/>
          </a:xfrm>
          <a:prstGeom prst="ellipse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Ovaal 4">
            <a:extLst>
              <a:ext uri="{FF2B5EF4-FFF2-40B4-BE49-F238E27FC236}">
                <a16:creationId xmlns:a16="http://schemas.microsoft.com/office/drawing/2014/main" id="{3E635514-9FCA-27A2-83B8-6D4ECD212378}"/>
              </a:ext>
            </a:extLst>
          </p:cNvPr>
          <p:cNvSpPr/>
          <p:nvPr/>
        </p:nvSpPr>
        <p:spPr>
          <a:xfrm>
            <a:off x="4132657" y="2243953"/>
            <a:ext cx="925200" cy="958016"/>
          </a:xfrm>
          <a:prstGeom prst="ellipse">
            <a:avLst/>
          </a:pr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Ovaal 5">
            <a:extLst>
              <a:ext uri="{FF2B5EF4-FFF2-40B4-BE49-F238E27FC236}">
                <a16:creationId xmlns:a16="http://schemas.microsoft.com/office/drawing/2014/main" id="{F22E365E-F09D-43F0-69DE-86D43F61FB07}"/>
              </a:ext>
            </a:extLst>
          </p:cNvPr>
          <p:cNvSpPr/>
          <p:nvPr/>
        </p:nvSpPr>
        <p:spPr>
          <a:xfrm>
            <a:off x="4132657" y="3645940"/>
            <a:ext cx="922354" cy="925200"/>
          </a:xfrm>
          <a:prstGeom prst="ellipse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0744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2FCDB5E0-6E2F-B7FF-24F5-589D703132E9}"/>
              </a:ext>
            </a:extLst>
          </p:cNvPr>
          <p:cNvSpPr/>
          <p:nvPr/>
        </p:nvSpPr>
        <p:spPr>
          <a:xfrm>
            <a:off x="0" y="0"/>
            <a:ext cx="12192000" cy="63452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ounded Rectangle 1">
            <a:extLst>
              <a:ext uri="{FF2B5EF4-FFF2-40B4-BE49-F238E27FC236}">
                <a16:creationId xmlns:a16="http://schemas.microsoft.com/office/drawing/2014/main" id="{1EA2F1C1-3E9A-2D64-9673-4A0E86F219B1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/>
              <a:t>Onze missi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9DD684-2147-E794-4F96-6C3572101F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6234" y="2276618"/>
            <a:ext cx="3753666" cy="2422382"/>
          </a:xfrm>
        </p:spPr>
        <p:txBody>
          <a:bodyPr lIns="91440" tIns="45720" rIns="91440" bIns="45720" anchor="t"/>
          <a:lstStyle/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sz="2000" b="1" dirty="0">
                <a:latin typeface="Archivo"/>
                <a:cs typeface="Archivo" pitchFamily="2" charset="77"/>
              </a:rPr>
              <a:t>“</a:t>
            </a:r>
            <a:r>
              <a:rPr lang="en-GB" sz="2000" b="1" dirty="0" err="1">
                <a:latin typeface="Archivo"/>
                <a:cs typeface="Archivo" pitchFamily="2" charset="77"/>
              </a:rPr>
              <a:t>Wij</a:t>
            </a:r>
            <a:r>
              <a:rPr lang="en-GB" sz="2000" b="1" dirty="0">
                <a:latin typeface="Archivo"/>
                <a:cs typeface="Archivo" pitchFamily="2" charset="77"/>
              </a:rPr>
              <a:t> </a:t>
            </a:r>
            <a:r>
              <a:rPr lang="en-GB" sz="2000" b="1" dirty="0" err="1">
                <a:latin typeface="Archivo"/>
                <a:cs typeface="Archivo" pitchFamily="2" charset="77"/>
              </a:rPr>
              <a:t>geloven</a:t>
            </a:r>
            <a:r>
              <a:rPr lang="en-GB" sz="2000" b="1" dirty="0">
                <a:latin typeface="Archivo"/>
                <a:cs typeface="Archivo" pitchFamily="2" charset="77"/>
              </a:rPr>
              <a:t> </a:t>
            </a:r>
            <a:r>
              <a:rPr lang="en-GB" sz="2000" b="1" dirty="0" err="1">
                <a:latin typeface="Archivo"/>
                <a:cs typeface="Archivo" pitchFamily="2" charset="77"/>
              </a:rPr>
              <a:t>dat</a:t>
            </a:r>
            <a:r>
              <a:rPr lang="en-GB" sz="2000" b="1" dirty="0">
                <a:latin typeface="Archivo"/>
                <a:cs typeface="Archivo" pitchFamily="2" charset="77"/>
              </a:rPr>
              <a:t> </a:t>
            </a:r>
            <a:r>
              <a:rPr lang="en-GB" sz="2000" b="1" dirty="0" err="1">
                <a:latin typeface="Archivo"/>
                <a:cs typeface="Archivo" pitchFamily="2" charset="77"/>
              </a:rPr>
              <a:t>digitale</a:t>
            </a:r>
            <a:r>
              <a:rPr lang="en-GB" sz="2000" b="1" dirty="0">
                <a:latin typeface="Archivo"/>
                <a:cs typeface="Archivo" pitchFamily="2" charset="77"/>
              </a:rPr>
              <a:t>   </a:t>
            </a:r>
            <a:r>
              <a:rPr lang="en-GB" sz="2000" b="1" dirty="0" err="1">
                <a:latin typeface="Archivo"/>
                <a:cs typeface="Archivo" pitchFamily="2" charset="77"/>
              </a:rPr>
              <a:t>technologie</a:t>
            </a:r>
            <a:r>
              <a:rPr lang="en-GB" sz="2000" b="1" dirty="0">
                <a:latin typeface="Archivo"/>
                <a:cs typeface="Archivo" pitchFamily="2" charset="77"/>
              </a:rPr>
              <a:t> het </a:t>
            </a:r>
            <a:r>
              <a:rPr lang="en-GB" sz="2000" b="1" dirty="0" err="1">
                <a:latin typeface="Archivo"/>
                <a:cs typeface="Archivo" pitchFamily="2" charset="77"/>
              </a:rPr>
              <a:t>professionele</a:t>
            </a:r>
            <a:r>
              <a:rPr lang="en-GB" sz="2000" b="1" dirty="0">
                <a:latin typeface="Archivo"/>
                <a:cs typeface="Archivo" pitchFamily="2" charset="77"/>
              </a:rPr>
              <a:t> </a:t>
            </a:r>
            <a:r>
              <a:rPr lang="en-GB" sz="2000" b="1" dirty="0" err="1">
                <a:latin typeface="Archivo"/>
                <a:cs typeface="Archivo" pitchFamily="2" charset="77"/>
              </a:rPr>
              <a:t>en</a:t>
            </a:r>
            <a:r>
              <a:rPr lang="en-GB" sz="2000" b="1" dirty="0">
                <a:latin typeface="Archivo"/>
                <a:cs typeface="Archivo" pitchFamily="2" charset="77"/>
              </a:rPr>
              <a:t> </a:t>
            </a:r>
            <a:r>
              <a:rPr lang="en-GB" sz="2000" b="1" dirty="0" err="1">
                <a:latin typeface="Archivo"/>
                <a:cs typeface="Archivo" pitchFamily="2" charset="77"/>
              </a:rPr>
              <a:t>persoonlijke</a:t>
            </a:r>
            <a:r>
              <a:rPr lang="en-GB" sz="2000" b="1" dirty="0">
                <a:latin typeface="Archivo"/>
                <a:cs typeface="Archivo" pitchFamily="2" charset="77"/>
              </a:rPr>
              <a:t> </a:t>
            </a:r>
            <a:r>
              <a:rPr lang="en-GB" sz="2000" b="1" dirty="0" err="1">
                <a:latin typeface="Archivo"/>
                <a:cs typeface="Archivo" pitchFamily="2" charset="77"/>
              </a:rPr>
              <a:t>leven</a:t>
            </a:r>
            <a:endParaRPr lang="en-GB" sz="2000" b="1" dirty="0">
              <a:latin typeface="Archivo"/>
            </a:endParaRPr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3845C6CF-3EAE-8544-A734-08A7483807D9}"/>
              </a:ext>
            </a:extLst>
          </p:cNvPr>
          <p:cNvSpPr txBox="1"/>
          <p:nvPr/>
        </p:nvSpPr>
        <p:spPr>
          <a:xfrm>
            <a:off x="477495" y="3496195"/>
            <a:ext cx="3225339" cy="13870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ts val="33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       </a:t>
            </a:r>
            <a:r>
              <a:rPr kumimoji="0" lang="en-GB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eenvoudiger</a:t>
            </a: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, </a:t>
            </a:r>
          </a:p>
          <a:p>
            <a:pPr marL="0" marR="0" lvl="0" indent="0" algn="l" defTabSz="457200" rtl="0" eaLnBrk="1" fontAlgn="auto" latinLnBrk="0" hangingPunct="1">
              <a:lnSpc>
                <a:spcPts val="33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efficiënter</a:t>
            </a: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 </a:t>
            </a:r>
            <a:r>
              <a:rPr kumimoji="0" lang="en-GB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en</a:t>
            </a: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 </a:t>
            </a:r>
            <a:r>
              <a:rPr kumimoji="0" lang="en-GB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aangenamer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Tekstvak 27">
            <a:extLst>
              <a:ext uri="{FF2B5EF4-FFF2-40B4-BE49-F238E27FC236}">
                <a16:creationId xmlns:a16="http://schemas.microsoft.com/office/drawing/2014/main" id="{71BE5EE2-0204-7F0B-74DA-5DB47F163C2D}"/>
              </a:ext>
            </a:extLst>
          </p:cNvPr>
          <p:cNvSpPr txBox="1"/>
          <p:nvPr/>
        </p:nvSpPr>
        <p:spPr>
          <a:xfrm>
            <a:off x="2502807" y="4408872"/>
            <a:ext cx="12239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chivo" pitchFamily="2" charset="77"/>
                <a:ea typeface="+mn-ea"/>
                <a:cs typeface="Archivo" pitchFamily="2" charset="77"/>
              </a:rPr>
              <a:t>maakt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chivo" pitchFamily="2" charset="77"/>
                <a:ea typeface="+mn-ea"/>
                <a:cs typeface="Archivo" pitchFamily="2" charset="77"/>
              </a:rPr>
              <a:t>.”</a:t>
            </a:r>
            <a:endParaRPr kumimoji="0" lang="en-NL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chivo" pitchFamily="2" charset="77"/>
              <a:ea typeface="+mn-ea"/>
              <a:cs typeface="Archivo" pitchFamily="2" charset="77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B3F865D7-C072-68DE-734F-58F6C2B0683C}"/>
              </a:ext>
            </a:extLst>
          </p:cNvPr>
          <p:cNvGrpSpPr/>
          <p:nvPr/>
        </p:nvGrpSpPr>
        <p:grpSpPr>
          <a:xfrm>
            <a:off x="5612261" y="848432"/>
            <a:ext cx="5045530" cy="5045530"/>
            <a:chOff x="5612261" y="848432"/>
            <a:chExt cx="5045530" cy="504553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06E40F3-DCBE-E3E5-0717-88BDFC394557}"/>
                </a:ext>
              </a:extLst>
            </p:cNvPr>
            <p:cNvSpPr/>
            <p:nvPr/>
          </p:nvSpPr>
          <p:spPr>
            <a:xfrm>
              <a:off x="5612261" y="848432"/>
              <a:ext cx="5045530" cy="504553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8" name="Ovaal 17">
              <a:extLst>
                <a:ext uri="{FF2B5EF4-FFF2-40B4-BE49-F238E27FC236}">
                  <a16:creationId xmlns:a16="http://schemas.microsoft.com/office/drawing/2014/main" id="{4A462A8A-E3D3-8327-6306-F8E41B5DF6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96000" y="1367578"/>
              <a:ext cx="4078053" cy="407805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9" name="Ovaal 18">
              <a:extLst>
                <a:ext uri="{FF2B5EF4-FFF2-40B4-BE49-F238E27FC236}">
                  <a16:creationId xmlns:a16="http://schemas.microsoft.com/office/drawing/2014/main" id="{7EF02395-3115-4BCC-3D15-82753DC3D4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82715" y="1835245"/>
              <a:ext cx="3104623" cy="31046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BD58962E-A9D0-1F1E-EE85-1D22105019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67812" y="2301357"/>
              <a:ext cx="2134429" cy="213442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21" name="Ovaal 20">
              <a:extLst>
                <a:ext uri="{FF2B5EF4-FFF2-40B4-BE49-F238E27FC236}">
                  <a16:creationId xmlns:a16="http://schemas.microsoft.com/office/drawing/2014/main" id="{8B1D0F6D-54F2-ED38-72CF-15489F9F9D5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52909" y="2767469"/>
              <a:ext cx="1164235" cy="116423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F8EAA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8BA6D5AD-E040-E4E2-C1EB-8DE684556806}"/>
              </a:ext>
            </a:extLst>
          </p:cNvPr>
          <p:cNvGrpSpPr/>
          <p:nvPr/>
        </p:nvGrpSpPr>
        <p:grpSpPr>
          <a:xfrm>
            <a:off x="6876111" y="3071139"/>
            <a:ext cx="2336569" cy="2419955"/>
            <a:chOff x="6876111" y="3071139"/>
            <a:chExt cx="2336569" cy="2419955"/>
          </a:xfrm>
        </p:grpSpPr>
        <p:sp>
          <p:nvSpPr>
            <p:cNvPr id="22" name="Tekstvak 21">
              <a:extLst>
                <a:ext uri="{FF2B5EF4-FFF2-40B4-BE49-F238E27FC236}">
                  <a16:creationId xmlns:a16="http://schemas.microsoft.com/office/drawing/2014/main" id="{401A429E-55CF-B7C4-5006-A04CAEFAA906}"/>
                </a:ext>
              </a:extLst>
            </p:cNvPr>
            <p:cNvSpPr txBox="1"/>
            <p:nvPr/>
          </p:nvSpPr>
          <p:spPr>
            <a:xfrm>
              <a:off x="6961350" y="3883939"/>
              <a:ext cx="225133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000" b="0" i="0" u="none" strike="noStrike" kern="1200" cap="none" spc="0" normalizeH="0" baseline="0" noProof="0" dirty="0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Caveat" pitchFamily="2" charset="0"/>
                  <a:ea typeface="+mn-ea"/>
                  <a:cs typeface="+mn-cs"/>
                </a:rPr>
                <a:t>How</a:t>
              </a:r>
            </a:p>
          </p:txBody>
        </p:sp>
        <p:sp>
          <p:nvSpPr>
            <p:cNvPr id="23" name="Tekstvak 22">
              <a:extLst>
                <a:ext uri="{FF2B5EF4-FFF2-40B4-BE49-F238E27FC236}">
                  <a16:creationId xmlns:a16="http://schemas.microsoft.com/office/drawing/2014/main" id="{4A638124-4404-1F17-23E1-111BCD700D58}"/>
                </a:ext>
              </a:extLst>
            </p:cNvPr>
            <p:cNvSpPr txBox="1"/>
            <p:nvPr/>
          </p:nvSpPr>
          <p:spPr>
            <a:xfrm>
              <a:off x="6961350" y="4396172"/>
              <a:ext cx="225133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Caveat" pitchFamily="2" charset="0"/>
                  <a:ea typeface="+mn-ea"/>
                  <a:cs typeface="+mn-cs"/>
                </a:rPr>
                <a:t>What</a:t>
              </a:r>
              <a:endParaRPr kumimoji="0" lang="nl-NL" sz="30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endParaRPr>
            </a:p>
          </p:txBody>
        </p:sp>
        <p:sp>
          <p:nvSpPr>
            <p:cNvPr id="24" name="Tekstvak 23">
              <a:extLst>
                <a:ext uri="{FF2B5EF4-FFF2-40B4-BE49-F238E27FC236}">
                  <a16:creationId xmlns:a16="http://schemas.microsoft.com/office/drawing/2014/main" id="{33248607-20E5-1A73-1A5B-43D8C85C5689}"/>
                </a:ext>
              </a:extLst>
            </p:cNvPr>
            <p:cNvSpPr txBox="1"/>
            <p:nvPr/>
          </p:nvSpPr>
          <p:spPr>
            <a:xfrm>
              <a:off x="6961350" y="3071139"/>
              <a:ext cx="225133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8EAA1"/>
                  </a:solidFill>
                  <a:effectLst/>
                  <a:uLnTx/>
                  <a:uFillTx/>
                  <a:latin typeface="Caveat" pitchFamily="2" charset="0"/>
                  <a:ea typeface="+mn-ea"/>
                  <a:cs typeface="+mn-cs"/>
                </a:rPr>
                <a:t>Why</a:t>
              </a:r>
              <a:endParaRPr kumimoji="0" lang="nl-NL" sz="3000" b="0" i="0" u="none" strike="noStrike" kern="1200" cap="none" spc="0" normalizeH="0" baseline="0" noProof="0" dirty="0">
                <a:ln>
                  <a:noFill/>
                </a:ln>
                <a:solidFill>
                  <a:srgbClr val="F8EAA1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endParaRPr>
            </a:p>
          </p:txBody>
        </p:sp>
        <p:sp>
          <p:nvSpPr>
            <p:cNvPr id="5" name="Tekstvak 4">
              <a:extLst>
                <a:ext uri="{FF2B5EF4-FFF2-40B4-BE49-F238E27FC236}">
                  <a16:creationId xmlns:a16="http://schemas.microsoft.com/office/drawing/2014/main" id="{0DB232B3-24DE-2C80-35D0-E5AB3A688635}"/>
                </a:ext>
              </a:extLst>
            </p:cNvPr>
            <p:cNvSpPr txBox="1"/>
            <p:nvPr/>
          </p:nvSpPr>
          <p:spPr>
            <a:xfrm>
              <a:off x="6876111" y="4937096"/>
              <a:ext cx="225133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Caveat" pitchFamily="2" charset="0"/>
                  <a:ea typeface="+mn-ea"/>
                  <a:cs typeface="+mn-cs"/>
                </a:rPr>
                <a:t>Who</a:t>
              </a:r>
              <a:endParaRPr kumimoji="0" lang="nl-NL" sz="30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1265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6B0D1A78-5104-46F5-35F3-464091D16923}"/>
              </a:ext>
            </a:extLst>
          </p:cNvPr>
          <p:cNvSpPr/>
          <p:nvPr/>
        </p:nvSpPr>
        <p:spPr>
          <a:xfrm>
            <a:off x="0" y="0"/>
            <a:ext cx="12192000" cy="63452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ounded Rectangle 1">
            <a:extLst>
              <a:ext uri="{FF2B5EF4-FFF2-40B4-BE49-F238E27FC236}">
                <a16:creationId xmlns:a16="http://schemas.microsoft.com/office/drawing/2014/main" id="{9FB8A4EF-5C26-DA68-1F7E-D454CD82996E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ounded Rectangle 1">
            <a:extLst>
              <a:ext uri="{FF2B5EF4-FFF2-40B4-BE49-F238E27FC236}">
                <a16:creationId xmlns:a16="http://schemas.microsoft.com/office/drawing/2014/main" id="{003AB1DB-5ADE-0215-6A68-4064DB516F4B}"/>
              </a:ext>
            </a:extLst>
          </p:cNvPr>
          <p:cNvSpPr/>
          <p:nvPr/>
        </p:nvSpPr>
        <p:spPr>
          <a:xfrm>
            <a:off x="737188" y="2619427"/>
            <a:ext cx="2934031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ounded Rectangle 1">
            <a:extLst>
              <a:ext uri="{FF2B5EF4-FFF2-40B4-BE49-F238E27FC236}">
                <a16:creationId xmlns:a16="http://schemas.microsoft.com/office/drawing/2014/main" id="{157C064C-01D7-9457-0C92-163EFF6B24DC}"/>
              </a:ext>
            </a:extLst>
          </p:cNvPr>
          <p:cNvSpPr/>
          <p:nvPr/>
        </p:nvSpPr>
        <p:spPr>
          <a:xfrm>
            <a:off x="737188" y="3267840"/>
            <a:ext cx="2934031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ounded Rectangle 1">
            <a:extLst>
              <a:ext uri="{FF2B5EF4-FFF2-40B4-BE49-F238E27FC236}">
                <a16:creationId xmlns:a16="http://schemas.microsoft.com/office/drawing/2014/main" id="{A443E115-9F83-F308-9343-B437CD0D7543}"/>
              </a:ext>
            </a:extLst>
          </p:cNvPr>
          <p:cNvSpPr/>
          <p:nvPr/>
        </p:nvSpPr>
        <p:spPr>
          <a:xfrm>
            <a:off x="737188" y="3916350"/>
            <a:ext cx="2934031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ounded Rectangle 1">
            <a:extLst>
              <a:ext uri="{FF2B5EF4-FFF2-40B4-BE49-F238E27FC236}">
                <a16:creationId xmlns:a16="http://schemas.microsoft.com/office/drawing/2014/main" id="{E0880963-ED45-1102-7668-CFAD585C06C8}"/>
              </a:ext>
            </a:extLst>
          </p:cNvPr>
          <p:cNvSpPr/>
          <p:nvPr/>
        </p:nvSpPr>
        <p:spPr>
          <a:xfrm>
            <a:off x="737188" y="4564861"/>
            <a:ext cx="2934031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ounded Rectangle 1">
            <a:extLst>
              <a:ext uri="{FF2B5EF4-FFF2-40B4-BE49-F238E27FC236}">
                <a16:creationId xmlns:a16="http://schemas.microsoft.com/office/drawing/2014/main" id="{D6CBDFD5-D9E4-84D4-694B-9085B2AC0F68}"/>
              </a:ext>
            </a:extLst>
          </p:cNvPr>
          <p:cNvSpPr/>
          <p:nvPr/>
        </p:nvSpPr>
        <p:spPr>
          <a:xfrm>
            <a:off x="737188" y="5219857"/>
            <a:ext cx="2934031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ounded Rectangle 1">
            <a:extLst>
              <a:ext uri="{FF2B5EF4-FFF2-40B4-BE49-F238E27FC236}">
                <a16:creationId xmlns:a16="http://schemas.microsoft.com/office/drawing/2014/main" id="{A78A3F80-340C-23A7-7743-D42EF655E8B0}"/>
              </a:ext>
            </a:extLst>
          </p:cNvPr>
          <p:cNvSpPr/>
          <p:nvPr/>
        </p:nvSpPr>
        <p:spPr>
          <a:xfrm>
            <a:off x="737188" y="1970820"/>
            <a:ext cx="2934031" cy="432000"/>
          </a:xfrm>
          <a:prstGeom prst="roundRect">
            <a:avLst>
              <a:gd name="adj" fmla="val 2779"/>
            </a:avLst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A1D3F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/>
              <a:t>How</a:t>
            </a:r>
            <a:endParaRPr lang="en-NL" dirty="0"/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8FA21FAE-86CB-B381-C630-6DD54621AD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15471" y="2004348"/>
            <a:ext cx="3351532" cy="409930"/>
          </a:xfrm>
        </p:spPr>
        <p:txBody>
          <a:bodyPr/>
          <a:lstStyle/>
          <a:p>
            <a:r>
              <a:rPr lang="nl-NL" dirty="0">
                <a:solidFill>
                  <a:schemeClr val="tx2"/>
                </a:solidFill>
              </a:rPr>
              <a:t>Duidelijke keuzes, niet alles willen doen</a:t>
            </a:r>
          </a:p>
        </p:txBody>
      </p:sp>
      <p:sp>
        <p:nvSpPr>
          <p:cNvPr id="32" name="Oval 12">
            <a:extLst>
              <a:ext uri="{FF2B5EF4-FFF2-40B4-BE49-F238E27FC236}">
                <a16:creationId xmlns:a16="http://schemas.microsoft.com/office/drawing/2014/main" id="{887271BA-0645-0268-45C1-3A82D27CE55C}"/>
              </a:ext>
            </a:extLst>
          </p:cNvPr>
          <p:cNvSpPr>
            <a:spLocks noChangeAspect="1"/>
          </p:cNvSpPr>
          <p:nvPr/>
        </p:nvSpPr>
        <p:spPr>
          <a:xfrm>
            <a:off x="523732" y="1973811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1</a:t>
            </a:r>
          </a:p>
        </p:txBody>
      </p:sp>
      <p:sp>
        <p:nvSpPr>
          <p:cNvPr id="33" name="Oval 13">
            <a:extLst>
              <a:ext uri="{FF2B5EF4-FFF2-40B4-BE49-F238E27FC236}">
                <a16:creationId xmlns:a16="http://schemas.microsoft.com/office/drawing/2014/main" id="{F7C11CA2-EBCF-6E3A-0F0B-0609A6523D3B}"/>
              </a:ext>
            </a:extLst>
          </p:cNvPr>
          <p:cNvSpPr>
            <a:spLocks noChangeAspect="1"/>
          </p:cNvSpPr>
          <p:nvPr/>
        </p:nvSpPr>
        <p:spPr>
          <a:xfrm>
            <a:off x="523732" y="2622549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2</a:t>
            </a:r>
          </a:p>
        </p:txBody>
      </p:sp>
      <p:sp>
        <p:nvSpPr>
          <p:cNvPr id="34" name="Oval 16">
            <a:extLst>
              <a:ext uri="{FF2B5EF4-FFF2-40B4-BE49-F238E27FC236}">
                <a16:creationId xmlns:a16="http://schemas.microsoft.com/office/drawing/2014/main" id="{A0A5FA1A-15ED-0A68-EB56-A36F2F23D3A5}"/>
              </a:ext>
            </a:extLst>
          </p:cNvPr>
          <p:cNvSpPr>
            <a:spLocks noChangeAspect="1"/>
          </p:cNvSpPr>
          <p:nvPr/>
        </p:nvSpPr>
        <p:spPr>
          <a:xfrm>
            <a:off x="523732" y="5217501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6</a:t>
            </a:r>
          </a:p>
        </p:txBody>
      </p:sp>
      <p:sp>
        <p:nvSpPr>
          <p:cNvPr id="35" name="Oval 17">
            <a:extLst>
              <a:ext uri="{FF2B5EF4-FFF2-40B4-BE49-F238E27FC236}">
                <a16:creationId xmlns:a16="http://schemas.microsoft.com/office/drawing/2014/main" id="{5D1C7687-A101-3305-FB62-D7B97741E46A}"/>
              </a:ext>
            </a:extLst>
          </p:cNvPr>
          <p:cNvSpPr>
            <a:spLocks noChangeAspect="1"/>
          </p:cNvSpPr>
          <p:nvPr/>
        </p:nvSpPr>
        <p:spPr>
          <a:xfrm>
            <a:off x="523732" y="4568763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5</a:t>
            </a:r>
          </a:p>
        </p:txBody>
      </p:sp>
      <p:sp>
        <p:nvSpPr>
          <p:cNvPr id="36" name="Oval 18">
            <a:extLst>
              <a:ext uri="{FF2B5EF4-FFF2-40B4-BE49-F238E27FC236}">
                <a16:creationId xmlns:a16="http://schemas.microsoft.com/office/drawing/2014/main" id="{9BE60A42-298A-9E97-5CC9-1D6F6AD74665}"/>
              </a:ext>
            </a:extLst>
          </p:cNvPr>
          <p:cNvSpPr>
            <a:spLocks noChangeAspect="1"/>
          </p:cNvSpPr>
          <p:nvPr/>
        </p:nvSpPr>
        <p:spPr>
          <a:xfrm>
            <a:off x="523732" y="3920025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4</a:t>
            </a:r>
          </a:p>
        </p:txBody>
      </p:sp>
      <p:sp>
        <p:nvSpPr>
          <p:cNvPr id="37" name="Oval 19">
            <a:extLst>
              <a:ext uri="{FF2B5EF4-FFF2-40B4-BE49-F238E27FC236}">
                <a16:creationId xmlns:a16="http://schemas.microsoft.com/office/drawing/2014/main" id="{889F53BD-BDBC-D9B3-83C8-00A448CEC541}"/>
              </a:ext>
            </a:extLst>
          </p:cNvPr>
          <p:cNvSpPr>
            <a:spLocks noChangeAspect="1"/>
          </p:cNvSpPr>
          <p:nvPr/>
        </p:nvSpPr>
        <p:spPr>
          <a:xfrm>
            <a:off x="523732" y="3271287"/>
            <a:ext cx="432000" cy="432000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88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rPr>
              <a:t>03</a:t>
            </a:r>
          </a:p>
        </p:txBody>
      </p:sp>
      <p:sp>
        <p:nvSpPr>
          <p:cNvPr id="38" name="Tijdelijke aanduiding voor tekst 5">
            <a:extLst>
              <a:ext uri="{FF2B5EF4-FFF2-40B4-BE49-F238E27FC236}">
                <a16:creationId xmlns:a16="http://schemas.microsoft.com/office/drawing/2014/main" id="{0071EAFA-F979-776F-68C5-3E298F96191C}"/>
              </a:ext>
            </a:extLst>
          </p:cNvPr>
          <p:cNvSpPr txBox="1">
            <a:spLocks/>
          </p:cNvSpPr>
          <p:nvPr/>
        </p:nvSpPr>
        <p:spPr>
          <a:xfrm>
            <a:off x="1015471" y="2656870"/>
            <a:ext cx="2655748" cy="4099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Gebruik van moderne, bewezen technologie</a:t>
            </a:r>
          </a:p>
        </p:txBody>
      </p:sp>
      <p:sp>
        <p:nvSpPr>
          <p:cNvPr id="39" name="Tijdelijke aanduiding voor tekst 5">
            <a:extLst>
              <a:ext uri="{FF2B5EF4-FFF2-40B4-BE49-F238E27FC236}">
                <a16:creationId xmlns:a16="http://schemas.microsoft.com/office/drawing/2014/main" id="{54A0D5B3-6D74-14AF-B8E7-093BFB0A3DDA}"/>
              </a:ext>
            </a:extLst>
          </p:cNvPr>
          <p:cNvSpPr txBox="1">
            <a:spLocks/>
          </p:cNvSpPr>
          <p:nvPr/>
        </p:nvSpPr>
        <p:spPr>
          <a:xfrm>
            <a:off x="1015471" y="3331028"/>
            <a:ext cx="3351532" cy="4099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Geïntegreerde ICT oplossingen</a:t>
            </a:r>
          </a:p>
        </p:txBody>
      </p:sp>
      <p:sp>
        <p:nvSpPr>
          <p:cNvPr id="40" name="Tijdelijke aanduiding voor tekst 5">
            <a:extLst>
              <a:ext uri="{FF2B5EF4-FFF2-40B4-BE49-F238E27FC236}">
                <a16:creationId xmlns:a16="http://schemas.microsoft.com/office/drawing/2014/main" id="{736A6DA3-7F92-0ECD-24A3-184A798CFD13}"/>
              </a:ext>
            </a:extLst>
          </p:cNvPr>
          <p:cNvSpPr txBox="1">
            <a:spLocks/>
          </p:cNvSpPr>
          <p:nvPr/>
        </p:nvSpPr>
        <p:spPr>
          <a:xfrm>
            <a:off x="1015471" y="3964933"/>
            <a:ext cx="3351532" cy="4099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Proactief beheer en monitoring</a:t>
            </a:r>
          </a:p>
        </p:txBody>
      </p:sp>
      <p:sp>
        <p:nvSpPr>
          <p:cNvPr id="41" name="Tijdelijke aanduiding voor tekst 5">
            <a:extLst>
              <a:ext uri="{FF2B5EF4-FFF2-40B4-BE49-F238E27FC236}">
                <a16:creationId xmlns:a16="http://schemas.microsoft.com/office/drawing/2014/main" id="{72589956-7F35-4936-15E7-8F19BD62E425}"/>
              </a:ext>
            </a:extLst>
          </p:cNvPr>
          <p:cNvSpPr txBox="1">
            <a:spLocks/>
          </p:cNvSpPr>
          <p:nvPr/>
        </p:nvSpPr>
        <p:spPr>
          <a:xfrm>
            <a:off x="1015471" y="4602527"/>
            <a:ext cx="3351532" cy="4099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Sterke partnerships met leveranciers</a:t>
            </a:r>
          </a:p>
        </p:txBody>
      </p:sp>
      <p:sp>
        <p:nvSpPr>
          <p:cNvPr id="42" name="Tijdelijke aanduiding voor tekst 5">
            <a:extLst>
              <a:ext uri="{FF2B5EF4-FFF2-40B4-BE49-F238E27FC236}">
                <a16:creationId xmlns:a16="http://schemas.microsoft.com/office/drawing/2014/main" id="{5DA7290B-8111-FEC3-7AC2-73CAD304C049}"/>
              </a:ext>
            </a:extLst>
          </p:cNvPr>
          <p:cNvSpPr txBox="1">
            <a:spLocks/>
          </p:cNvSpPr>
          <p:nvPr/>
        </p:nvSpPr>
        <p:spPr>
          <a:xfrm>
            <a:off x="1015471" y="5266674"/>
            <a:ext cx="3351532" cy="4099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Noto Sans ExtraBold" panose="020B0502040504020204" pitchFamily="34" charset="0"/>
                <a:ea typeface="Noto Sans ExtraBold" panose="020B0502040504020204" pitchFamily="34" charset="0"/>
                <a:cs typeface="Noto Sans ExtraBold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Noto Sans ExtraBold" panose="020B0502040504020204" pitchFamily="34" charset="0"/>
              </a:rPr>
              <a:t>Flexibele schaalbare prijsmodellen</a:t>
            </a:r>
          </a:p>
        </p:txBody>
      </p:sp>
      <p:sp>
        <p:nvSpPr>
          <p:cNvPr id="61" name="Ovaal 60">
            <a:extLst>
              <a:ext uri="{FF2B5EF4-FFF2-40B4-BE49-F238E27FC236}">
                <a16:creationId xmlns:a16="http://schemas.microsoft.com/office/drawing/2014/main" id="{CCE8830D-CF7B-50DE-250D-77FCCAC64CFE}"/>
              </a:ext>
            </a:extLst>
          </p:cNvPr>
          <p:cNvSpPr/>
          <p:nvPr/>
        </p:nvSpPr>
        <p:spPr>
          <a:xfrm>
            <a:off x="5612261" y="848432"/>
            <a:ext cx="5045530" cy="5045530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Ovaal 61">
            <a:extLst>
              <a:ext uri="{FF2B5EF4-FFF2-40B4-BE49-F238E27FC236}">
                <a16:creationId xmlns:a16="http://schemas.microsoft.com/office/drawing/2014/main" id="{EEA5CEE2-CB53-C32B-AAA1-5A3B088B8C9E}"/>
              </a:ext>
            </a:extLst>
          </p:cNvPr>
          <p:cNvSpPr>
            <a:spLocks noChangeAspect="1"/>
          </p:cNvSpPr>
          <p:nvPr/>
        </p:nvSpPr>
        <p:spPr>
          <a:xfrm>
            <a:off x="6096000" y="1367578"/>
            <a:ext cx="4078053" cy="407805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Ovaal 62">
            <a:extLst>
              <a:ext uri="{FF2B5EF4-FFF2-40B4-BE49-F238E27FC236}">
                <a16:creationId xmlns:a16="http://schemas.microsoft.com/office/drawing/2014/main" id="{1BFBBE0A-7B33-3D95-DCF7-403EBD27DA22}"/>
              </a:ext>
            </a:extLst>
          </p:cNvPr>
          <p:cNvSpPr>
            <a:spLocks noChangeAspect="1"/>
          </p:cNvSpPr>
          <p:nvPr/>
        </p:nvSpPr>
        <p:spPr>
          <a:xfrm>
            <a:off x="6582715" y="1835245"/>
            <a:ext cx="3104623" cy="310462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Ovaal 63">
            <a:extLst>
              <a:ext uri="{FF2B5EF4-FFF2-40B4-BE49-F238E27FC236}">
                <a16:creationId xmlns:a16="http://schemas.microsoft.com/office/drawing/2014/main" id="{58F2B24B-0BA5-16C6-035B-1688514D7259}"/>
              </a:ext>
            </a:extLst>
          </p:cNvPr>
          <p:cNvSpPr>
            <a:spLocks noChangeAspect="1"/>
          </p:cNvSpPr>
          <p:nvPr/>
        </p:nvSpPr>
        <p:spPr>
          <a:xfrm>
            <a:off x="7067812" y="2301357"/>
            <a:ext cx="2134429" cy="213442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Ovaal 64">
            <a:extLst>
              <a:ext uri="{FF2B5EF4-FFF2-40B4-BE49-F238E27FC236}">
                <a16:creationId xmlns:a16="http://schemas.microsoft.com/office/drawing/2014/main" id="{DED510F3-3B7D-FD5E-41C1-27546EA3F7AC}"/>
              </a:ext>
            </a:extLst>
          </p:cNvPr>
          <p:cNvSpPr>
            <a:spLocks noChangeAspect="1"/>
          </p:cNvSpPr>
          <p:nvPr/>
        </p:nvSpPr>
        <p:spPr>
          <a:xfrm>
            <a:off x="7552909" y="2767469"/>
            <a:ext cx="1164235" cy="116423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8EAA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A1D9F9CD-BDE5-0DDB-92D1-32738A4DFB33}"/>
              </a:ext>
            </a:extLst>
          </p:cNvPr>
          <p:cNvGrpSpPr/>
          <p:nvPr/>
        </p:nvGrpSpPr>
        <p:grpSpPr>
          <a:xfrm>
            <a:off x="6876111" y="3071139"/>
            <a:ext cx="2336569" cy="2419955"/>
            <a:chOff x="6876111" y="3071139"/>
            <a:chExt cx="2336569" cy="2419955"/>
          </a:xfrm>
        </p:grpSpPr>
        <p:sp>
          <p:nvSpPr>
            <p:cNvPr id="26" name="Tekstvak 25">
              <a:extLst>
                <a:ext uri="{FF2B5EF4-FFF2-40B4-BE49-F238E27FC236}">
                  <a16:creationId xmlns:a16="http://schemas.microsoft.com/office/drawing/2014/main" id="{54DB5B48-426C-63EA-E8D7-A230283A40D0}"/>
                </a:ext>
              </a:extLst>
            </p:cNvPr>
            <p:cNvSpPr txBox="1"/>
            <p:nvPr/>
          </p:nvSpPr>
          <p:spPr>
            <a:xfrm>
              <a:off x="6961350" y="3883939"/>
              <a:ext cx="225133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000" b="0" i="0" u="none" strike="noStrike" kern="1200" cap="none" spc="0" normalizeH="0" baseline="0" noProof="0">
                  <a:ln>
                    <a:noFill/>
                  </a:ln>
                  <a:solidFill>
                    <a:srgbClr val="F8EAA1"/>
                  </a:solidFill>
                  <a:effectLst/>
                  <a:uLnTx/>
                  <a:uFillTx/>
                  <a:latin typeface="Caveat" pitchFamily="2" charset="0"/>
                  <a:ea typeface="+mn-ea"/>
                  <a:cs typeface="+mn-cs"/>
                </a:rPr>
                <a:t>How</a:t>
              </a:r>
            </a:p>
          </p:txBody>
        </p:sp>
        <p:sp>
          <p:nvSpPr>
            <p:cNvPr id="27" name="Tekstvak 26">
              <a:extLst>
                <a:ext uri="{FF2B5EF4-FFF2-40B4-BE49-F238E27FC236}">
                  <a16:creationId xmlns:a16="http://schemas.microsoft.com/office/drawing/2014/main" id="{AA3D6F5B-73C8-4ABE-518B-1CC416D0C561}"/>
                </a:ext>
              </a:extLst>
            </p:cNvPr>
            <p:cNvSpPr txBox="1"/>
            <p:nvPr/>
          </p:nvSpPr>
          <p:spPr>
            <a:xfrm>
              <a:off x="6961350" y="4396172"/>
              <a:ext cx="225133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000" b="0" i="0" u="none" strike="noStrike" kern="1200" cap="none" spc="0" normalizeH="0" baseline="0" noProof="0" err="1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Caveat" pitchFamily="2" charset="0"/>
                  <a:ea typeface="+mn-ea"/>
                  <a:cs typeface="+mn-cs"/>
                </a:rPr>
                <a:t>What</a:t>
              </a:r>
              <a:endParaRPr kumimoji="0" lang="nl-NL" sz="3000" b="0" i="0" u="none" strike="noStrike" kern="1200" cap="none" spc="0" normalizeH="0" baseline="0" noProof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endParaRPr>
            </a:p>
          </p:txBody>
        </p:sp>
        <p:sp>
          <p:nvSpPr>
            <p:cNvPr id="28" name="Tekstvak 27">
              <a:extLst>
                <a:ext uri="{FF2B5EF4-FFF2-40B4-BE49-F238E27FC236}">
                  <a16:creationId xmlns:a16="http://schemas.microsoft.com/office/drawing/2014/main" id="{A5C3E189-6FC6-295A-D1B9-A99DC4C822E6}"/>
                </a:ext>
              </a:extLst>
            </p:cNvPr>
            <p:cNvSpPr txBox="1"/>
            <p:nvPr/>
          </p:nvSpPr>
          <p:spPr>
            <a:xfrm>
              <a:off x="6961350" y="3071139"/>
              <a:ext cx="225133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Caveat" pitchFamily="2" charset="0"/>
                  <a:ea typeface="+mn-ea"/>
                  <a:cs typeface="+mn-cs"/>
                </a:rPr>
                <a:t>Why</a:t>
              </a:r>
              <a:endParaRPr kumimoji="0" lang="nl-NL" sz="30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endParaRPr>
            </a:p>
          </p:txBody>
        </p:sp>
        <p:sp>
          <p:nvSpPr>
            <p:cNvPr id="4" name="Tekstvak 4">
              <a:extLst>
                <a:ext uri="{FF2B5EF4-FFF2-40B4-BE49-F238E27FC236}">
                  <a16:creationId xmlns:a16="http://schemas.microsoft.com/office/drawing/2014/main" id="{76805A05-30C7-189C-D043-937B381AF0E6}"/>
                </a:ext>
              </a:extLst>
            </p:cNvPr>
            <p:cNvSpPr txBox="1"/>
            <p:nvPr/>
          </p:nvSpPr>
          <p:spPr>
            <a:xfrm>
              <a:off x="6876111" y="4937096"/>
              <a:ext cx="225133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Caveat" pitchFamily="2" charset="0"/>
                  <a:ea typeface="+mn-ea"/>
                  <a:cs typeface="+mn-cs"/>
                </a:rPr>
                <a:t>Who</a:t>
              </a:r>
              <a:endParaRPr kumimoji="0" lang="nl-NL" sz="3000" b="0" i="0" u="none" strike="noStrike" kern="1200" cap="none" spc="0" normalizeH="0" baseline="0" noProof="0" dirty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Caveat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423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>
            <a:extLst>
              <a:ext uri="{FF2B5EF4-FFF2-40B4-BE49-F238E27FC236}">
                <a16:creationId xmlns:a16="http://schemas.microsoft.com/office/drawing/2014/main" id="{81A5AE58-1F72-356F-CBA7-50112EF2DC44}"/>
              </a:ext>
            </a:extLst>
          </p:cNvPr>
          <p:cNvSpPr/>
          <p:nvPr/>
        </p:nvSpPr>
        <p:spPr>
          <a:xfrm>
            <a:off x="0" y="0"/>
            <a:ext cx="12192000" cy="6345215"/>
          </a:xfrm>
          <a:prstGeom prst="rect">
            <a:avLst/>
          </a:prstGeom>
          <a:solidFill>
            <a:srgbClr val="A1D3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ounded Rectangle 1">
            <a:extLst>
              <a:ext uri="{FF2B5EF4-FFF2-40B4-BE49-F238E27FC236}">
                <a16:creationId xmlns:a16="http://schemas.microsoft.com/office/drawing/2014/main" id="{92168053-BF36-DC11-A36C-DE5FA2B65D78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43" name="3">
            <a:extLst>
              <a:ext uri="{FF2B5EF4-FFF2-40B4-BE49-F238E27FC236}">
                <a16:creationId xmlns:a16="http://schemas.microsoft.com/office/drawing/2014/main" id="{984056BE-DF70-2677-BD44-63BB4ADB2914}"/>
              </a:ext>
            </a:extLst>
          </p:cNvPr>
          <p:cNvGrpSpPr/>
          <p:nvPr/>
        </p:nvGrpSpPr>
        <p:grpSpPr>
          <a:xfrm>
            <a:off x="3087811" y="539484"/>
            <a:ext cx="8892979" cy="4874514"/>
            <a:chOff x="3087811" y="539484"/>
            <a:chExt cx="8892979" cy="4874514"/>
          </a:xfrm>
        </p:grpSpPr>
        <p:pic>
          <p:nvPicPr>
            <p:cNvPr id="8" name="Afbeelding 7" descr="Afbeelding met cirkel&#10;&#10;Automatisch gegenereerde beschrijving">
              <a:extLst>
                <a:ext uri="{FF2B5EF4-FFF2-40B4-BE49-F238E27FC236}">
                  <a16:creationId xmlns:a16="http://schemas.microsoft.com/office/drawing/2014/main" id="{B2C0D3AD-D123-471F-78F5-D51AACFA34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09441" y="1426198"/>
              <a:ext cx="3924300" cy="3987800"/>
            </a:xfrm>
            <a:prstGeom prst="rect">
              <a:avLst/>
            </a:prstGeom>
          </p:spPr>
        </p:pic>
        <p:sp>
          <p:nvSpPr>
            <p:cNvPr id="54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73FDC71C-7085-1910-009E-EE2573F2B927}"/>
                </a:ext>
              </a:extLst>
            </p:cNvPr>
            <p:cNvSpPr/>
            <p:nvPr/>
          </p:nvSpPr>
          <p:spPr>
            <a:xfrm>
              <a:off x="8327018" y="539484"/>
              <a:ext cx="2257988" cy="193678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Beheren &amp; Onderhouden</a:t>
              </a:r>
            </a:p>
          </p:txBody>
        </p:sp>
        <p:sp>
          <p:nvSpPr>
            <p:cNvPr id="58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AEC618AC-6E07-9D56-8390-3552D8DB4307}"/>
                </a:ext>
              </a:extLst>
            </p:cNvPr>
            <p:cNvSpPr/>
            <p:nvPr/>
          </p:nvSpPr>
          <p:spPr>
            <a:xfrm>
              <a:off x="10303899" y="1557348"/>
              <a:ext cx="1676891" cy="197574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Secure </a:t>
              </a:r>
              <a:r>
                <a:rPr kumimoji="0" lang="nl-NL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by</a:t>
              </a: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 design</a:t>
              </a:r>
            </a:p>
          </p:txBody>
        </p:sp>
        <p:sp>
          <p:nvSpPr>
            <p:cNvPr id="31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8C1EA1AF-A9EE-8D47-1D92-9105CBFFB399}"/>
                </a:ext>
              </a:extLst>
            </p:cNvPr>
            <p:cNvSpPr/>
            <p:nvPr/>
          </p:nvSpPr>
          <p:spPr>
            <a:xfrm>
              <a:off x="3087811" y="1875842"/>
              <a:ext cx="2108287" cy="246969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Ontwerpen &amp; Bouwen</a:t>
              </a:r>
            </a:p>
          </p:txBody>
        </p: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C28F3A9B-BD04-5C4A-B7ED-2FD1BB3221D5}"/>
                </a:ext>
              </a:extLst>
            </p:cNvPr>
            <p:cNvGrpSpPr/>
            <p:nvPr/>
          </p:nvGrpSpPr>
          <p:grpSpPr>
            <a:xfrm flipH="1">
              <a:off x="3094271" y="1810878"/>
              <a:ext cx="2771946" cy="364649"/>
              <a:chOff x="2617817" y="1732894"/>
              <a:chExt cx="3153686" cy="414867"/>
            </a:xfrm>
          </p:grpSpPr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5D8FDA41-AE46-7945-E87F-715404CCEA7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617817" y="1732894"/>
                <a:ext cx="514559" cy="414867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Rechte verbindingslijn 26">
                <a:extLst>
                  <a:ext uri="{FF2B5EF4-FFF2-40B4-BE49-F238E27FC236}">
                    <a16:creationId xmlns:a16="http://schemas.microsoft.com/office/drawing/2014/main" id="{EFA2D824-0ED2-BE92-3429-F9214F7B7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28200" y="1732894"/>
                <a:ext cx="2643303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ep 34">
              <a:extLst>
                <a:ext uri="{FF2B5EF4-FFF2-40B4-BE49-F238E27FC236}">
                  <a16:creationId xmlns:a16="http://schemas.microsoft.com/office/drawing/2014/main" id="{52C0616E-3DAF-9E6E-4A6A-D70141483D32}"/>
                </a:ext>
              </a:extLst>
            </p:cNvPr>
            <p:cNvGrpSpPr/>
            <p:nvPr/>
          </p:nvGrpSpPr>
          <p:grpSpPr>
            <a:xfrm>
              <a:off x="8913465" y="1836337"/>
              <a:ext cx="2531580" cy="364649"/>
              <a:chOff x="8667057" y="1662819"/>
              <a:chExt cx="2531580" cy="364649"/>
            </a:xfrm>
          </p:grpSpPr>
          <p:cxnSp>
            <p:nvCxnSpPr>
              <p:cNvPr id="36" name="Rechte verbindingslijn 35">
                <a:extLst>
                  <a:ext uri="{FF2B5EF4-FFF2-40B4-BE49-F238E27FC236}">
                    <a16:creationId xmlns:a16="http://schemas.microsoft.com/office/drawing/2014/main" id="{B34366CC-3ADE-30D9-1C4F-934C5F09E0F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667057" y="1662819"/>
                <a:ext cx="452274" cy="364649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>
                <a:extLst>
                  <a:ext uri="{FF2B5EF4-FFF2-40B4-BE49-F238E27FC236}">
                    <a16:creationId xmlns:a16="http://schemas.microsoft.com/office/drawing/2014/main" id="{34C43B6E-30CF-CC69-7FD3-D30E49ACC1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16064" y="1662819"/>
                <a:ext cx="2082573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ep 37">
              <a:extLst>
                <a:ext uri="{FF2B5EF4-FFF2-40B4-BE49-F238E27FC236}">
                  <a16:creationId xmlns:a16="http://schemas.microsoft.com/office/drawing/2014/main" id="{E2E78B20-19FD-148B-FA38-9578F65E9A46}"/>
                </a:ext>
              </a:extLst>
            </p:cNvPr>
            <p:cNvGrpSpPr/>
            <p:nvPr/>
          </p:nvGrpSpPr>
          <p:grpSpPr>
            <a:xfrm>
              <a:off x="7399105" y="808399"/>
              <a:ext cx="2903354" cy="678980"/>
              <a:chOff x="2282475" y="1732894"/>
              <a:chExt cx="3303190" cy="772486"/>
            </a:xfrm>
          </p:grpSpPr>
          <p:cxnSp>
            <p:nvCxnSpPr>
              <p:cNvPr id="39" name="Rechte verbindingslijn 38">
                <a:extLst>
                  <a:ext uri="{FF2B5EF4-FFF2-40B4-BE49-F238E27FC236}">
                    <a16:creationId xmlns:a16="http://schemas.microsoft.com/office/drawing/2014/main" id="{F811ED18-8434-469E-ED7E-B6DDDB6F6C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28200" y="1732894"/>
                <a:ext cx="245746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Rechte verbindingslijn 39">
                <a:extLst>
                  <a:ext uri="{FF2B5EF4-FFF2-40B4-BE49-F238E27FC236}">
                    <a16:creationId xmlns:a16="http://schemas.microsoft.com/office/drawing/2014/main" id="{51163E0A-8F3D-A694-8A34-D6871D9BA23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82475" y="1732894"/>
                <a:ext cx="849901" cy="772486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2" name="2">
            <a:extLst>
              <a:ext uri="{FF2B5EF4-FFF2-40B4-BE49-F238E27FC236}">
                <a16:creationId xmlns:a16="http://schemas.microsoft.com/office/drawing/2014/main" id="{B29F9546-D3EB-EFF0-F233-BCB3CA44BFC1}"/>
              </a:ext>
            </a:extLst>
          </p:cNvPr>
          <p:cNvGrpSpPr/>
          <p:nvPr/>
        </p:nvGrpSpPr>
        <p:grpSpPr>
          <a:xfrm>
            <a:off x="3072281" y="1426198"/>
            <a:ext cx="8396098" cy="4605598"/>
            <a:chOff x="3072281" y="1426198"/>
            <a:chExt cx="8396098" cy="4605598"/>
          </a:xfrm>
        </p:grpSpPr>
        <p:sp>
          <p:nvSpPr>
            <p:cNvPr id="56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D00BEAD1-A12B-9C29-3404-A61C54048044}"/>
                </a:ext>
              </a:extLst>
            </p:cNvPr>
            <p:cNvSpPr/>
            <p:nvPr/>
          </p:nvSpPr>
          <p:spPr>
            <a:xfrm>
              <a:off x="3072281" y="3003865"/>
              <a:ext cx="2108287" cy="387314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Communicatie &amp; Samenwerken</a:t>
              </a:r>
            </a:p>
          </p:txBody>
        </p:sp>
        <p:sp>
          <p:nvSpPr>
            <p:cNvPr id="50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7499F404-C492-2FF8-9AAA-C9D2DE327226}"/>
                </a:ext>
              </a:extLst>
            </p:cNvPr>
            <p:cNvSpPr/>
            <p:nvPr/>
          </p:nvSpPr>
          <p:spPr>
            <a:xfrm>
              <a:off x="9333741" y="2635449"/>
              <a:ext cx="2134638" cy="811317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Slimme oplossingen die organisaties helpen beter, efficiënter en klantvriendelijker te opereren</a:t>
              </a:r>
            </a:p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200" b="1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endParaRPr>
            </a:p>
          </p:txBody>
        </p:sp>
        <p:sp>
          <p:nvSpPr>
            <p:cNvPr id="53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3774BD13-960A-D28D-7445-5B54AC76FC64}"/>
                </a:ext>
              </a:extLst>
            </p:cNvPr>
            <p:cNvSpPr/>
            <p:nvPr/>
          </p:nvSpPr>
          <p:spPr>
            <a:xfrm>
              <a:off x="6178465" y="5573109"/>
              <a:ext cx="2386252" cy="458687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De Modern </a:t>
              </a:r>
              <a:r>
                <a:rPr kumimoji="0" lang="nl-NL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Workplace</a:t>
              </a:r>
              <a:b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</a:br>
              <a:r>
                <a:rPr kumimoji="0" lang="nl-NL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Any</a:t>
              </a: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 time, </a:t>
              </a:r>
              <a:r>
                <a:rPr kumimoji="0" lang="nl-NL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any</a:t>
              </a: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 </a:t>
              </a:r>
              <a:r>
                <a:rPr kumimoji="0" lang="nl-NL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place</a:t>
              </a: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, </a:t>
              </a:r>
              <a:r>
                <a:rPr kumimoji="0" lang="nl-NL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any</a:t>
              </a: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 device</a:t>
              </a:r>
            </a:p>
          </p:txBody>
        </p:sp>
        <p:pic>
          <p:nvPicPr>
            <p:cNvPr id="6" name="Afbeelding 5" descr="Afbeelding met cirkel, Graphics, ontwerp&#10;&#10;Automatisch gegenereerde beschrijving">
              <a:extLst>
                <a:ext uri="{FF2B5EF4-FFF2-40B4-BE49-F238E27FC236}">
                  <a16:creationId xmlns:a16="http://schemas.microsoft.com/office/drawing/2014/main" id="{AAEB6668-ACE2-397F-C97B-76F72BF65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09441" y="1426198"/>
              <a:ext cx="3924300" cy="3987800"/>
            </a:xfrm>
            <a:prstGeom prst="rect">
              <a:avLst/>
            </a:prstGeom>
          </p:spPr>
        </p:pic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B1F21163-E4E0-0F55-0108-1DCCFA19D74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94271" y="3463927"/>
              <a:ext cx="2566088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Rechte verbindingslijn 9">
              <a:extLst>
                <a:ext uri="{FF2B5EF4-FFF2-40B4-BE49-F238E27FC236}">
                  <a16:creationId xmlns:a16="http://schemas.microsoft.com/office/drawing/2014/main" id="{6080505D-BE2B-D965-5619-A463276CADD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099904" y="3463927"/>
              <a:ext cx="2325714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Rechte verbindingslijn 33">
              <a:extLst>
                <a:ext uri="{FF2B5EF4-FFF2-40B4-BE49-F238E27FC236}">
                  <a16:creationId xmlns:a16="http://schemas.microsoft.com/office/drawing/2014/main" id="{B5E4DC6A-25A3-6114-5F20-52A46153F29F}"/>
                </a:ext>
              </a:extLst>
            </p:cNvPr>
            <p:cNvCxnSpPr>
              <a:cxnSpLocks/>
            </p:cNvCxnSpPr>
            <p:nvPr/>
          </p:nvCxnSpPr>
          <p:spPr>
            <a:xfrm>
              <a:off x="7371591" y="5163090"/>
              <a:ext cx="0" cy="410019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1">
            <a:extLst>
              <a:ext uri="{FF2B5EF4-FFF2-40B4-BE49-F238E27FC236}">
                <a16:creationId xmlns:a16="http://schemas.microsoft.com/office/drawing/2014/main" id="{FDAF24BF-70BD-7C4C-CA1B-68D9C306B79F}"/>
              </a:ext>
            </a:extLst>
          </p:cNvPr>
          <p:cNvGrpSpPr/>
          <p:nvPr/>
        </p:nvGrpSpPr>
        <p:grpSpPr>
          <a:xfrm>
            <a:off x="2945114" y="1426198"/>
            <a:ext cx="8523265" cy="3987800"/>
            <a:chOff x="2945114" y="1426198"/>
            <a:chExt cx="8523265" cy="3987800"/>
          </a:xfrm>
        </p:grpSpPr>
        <p:sp>
          <p:nvSpPr>
            <p:cNvPr id="51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C1673A77-F374-AA67-8824-ECDCEE539AE6}"/>
                </a:ext>
              </a:extLst>
            </p:cNvPr>
            <p:cNvSpPr/>
            <p:nvPr/>
          </p:nvSpPr>
          <p:spPr>
            <a:xfrm>
              <a:off x="8818372" y="4761847"/>
              <a:ext cx="2650007" cy="401243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61173E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Vaste &amp; Mobiele spraak en dataverbindingen </a:t>
              </a:r>
            </a:p>
          </p:txBody>
        </p:sp>
        <p:sp>
          <p:nvSpPr>
            <p:cNvPr id="32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5A785E57-00C9-11D8-3C9D-08AB9473E530}"/>
                </a:ext>
              </a:extLst>
            </p:cNvPr>
            <p:cNvSpPr/>
            <p:nvPr/>
          </p:nvSpPr>
          <p:spPr>
            <a:xfrm>
              <a:off x="2945114" y="4952985"/>
              <a:ext cx="2650007" cy="182180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61173E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Applicaties &amp; Data</a:t>
              </a:r>
            </a:p>
          </p:txBody>
        </p:sp>
        <p:pic>
          <p:nvPicPr>
            <p:cNvPr id="4" name="Afbeelding 3" descr="Afbeelding met kleding, Menselijk gezicht, persoon, glimlach&#10;&#10;Automatisch gegenereerde beschrijving">
              <a:extLst>
                <a:ext uri="{FF2B5EF4-FFF2-40B4-BE49-F238E27FC236}">
                  <a16:creationId xmlns:a16="http://schemas.microsoft.com/office/drawing/2014/main" id="{F5361D1D-1DFA-3192-09E8-EAF9B9EBDC3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09441" y="1426198"/>
              <a:ext cx="3924300" cy="3987800"/>
            </a:xfrm>
            <a:prstGeom prst="rect">
              <a:avLst/>
            </a:prstGeom>
          </p:spPr>
        </p:pic>
        <p:grpSp>
          <p:nvGrpSpPr>
            <p:cNvPr id="19" name="Groep 18">
              <a:extLst>
                <a:ext uri="{FF2B5EF4-FFF2-40B4-BE49-F238E27FC236}">
                  <a16:creationId xmlns:a16="http://schemas.microsoft.com/office/drawing/2014/main" id="{B2041EAA-8596-4FC9-062E-462F5602794D}"/>
                </a:ext>
              </a:extLst>
            </p:cNvPr>
            <p:cNvGrpSpPr/>
            <p:nvPr/>
          </p:nvGrpSpPr>
          <p:grpSpPr>
            <a:xfrm flipV="1">
              <a:off x="8016330" y="4474723"/>
              <a:ext cx="3428715" cy="733187"/>
              <a:chOff x="2367849" y="1732894"/>
              <a:chExt cx="3900900" cy="834158"/>
            </a:xfrm>
          </p:grpSpPr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969B450B-049C-D6FF-864A-D607F1C44BD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67849" y="1732894"/>
                <a:ext cx="764527" cy="834158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1F02F1C0-4FD5-9AF6-F5D6-CF386B20423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28199" y="1732894"/>
                <a:ext cx="3140550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ep 21">
              <a:extLst>
                <a:ext uri="{FF2B5EF4-FFF2-40B4-BE49-F238E27FC236}">
                  <a16:creationId xmlns:a16="http://schemas.microsoft.com/office/drawing/2014/main" id="{97702147-D88A-F889-CA38-B3F6FFC6BFF8}"/>
                </a:ext>
              </a:extLst>
            </p:cNvPr>
            <p:cNvGrpSpPr/>
            <p:nvPr/>
          </p:nvGrpSpPr>
          <p:grpSpPr>
            <a:xfrm flipH="1" flipV="1">
              <a:off x="2945114" y="4474722"/>
              <a:ext cx="3820202" cy="733190"/>
              <a:chOff x="1926896" y="1732894"/>
              <a:chExt cx="4346302" cy="834162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57D4708C-A3A3-5FD4-CC39-4291171742C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926896" y="1732894"/>
                <a:ext cx="1205480" cy="834162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073527B9-BDCB-C63E-CC56-87A4031CCC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28200" y="1732894"/>
                <a:ext cx="3144998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err="1"/>
              <a:t>What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243769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3455B951-CF1A-638F-98A2-64E68FED5679}"/>
              </a:ext>
            </a:extLst>
          </p:cNvPr>
          <p:cNvSpPr/>
          <p:nvPr/>
        </p:nvSpPr>
        <p:spPr>
          <a:xfrm>
            <a:off x="0" y="0"/>
            <a:ext cx="12192000" cy="6345215"/>
          </a:xfrm>
          <a:prstGeom prst="rect">
            <a:avLst/>
          </a:prstGeom>
          <a:solidFill>
            <a:srgbClr val="A1D3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ounded Rectangle 1">
            <a:extLst>
              <a:ext uri="{FF2B5EF4-FFF2-40B4-BE49-F238E27FC236}">
                <a16:creationId xmlns:a16="http://schemas.microsoft.com/office/drawing/2014/main" id="{D237206E-AD5D-0894-78CA-02F27C347A30}"/>
              </a:ext>
            </a:extLst>
          </p:cNvPr>
          <p:cNvSpPr/>
          <p:nvPr/>
        </p:nvSpPr>
        <p:spPr>
          <a:xfrm>
            <a:off x="328473" y="391465"/>
            <a:ext cx="11535577" cy="5944697"/>
          </a:xfrm>
          <a:prstGeom prst="roundRect">
            <a:avLst>
              <a:gd name="adj" fmla="val 27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43" name="3">
            <a:extLst>
              <a:ext uri="{FF2B5EF4-FFF2-40B4-BE49-F238E27FC236}">
                <a16:creationId xmlns:a16="http://schemas.microsoft.com/office/drawing/2014/main" id="{984056BE-DF70-2677-BD44-63BB4ADB2914}"/>
              </a:ext>
            </a:extLst>
          </p:cNvPr>
          <p:cNvGrpSpPr/>
          <p:nvPr/>
        </p:nvGrpSpPr>
        <p:grpSpPr>
          <a:xfrm>
            <a:off x="3087811" y="539484"/>
            <a:ext cx="8892979" cy="4874514"/>
            <a:chOff x="3087811" y="539484"/>
            <a:chExt cx="8892979" cy="4874514"/>
          </a:xfrm>
        </p:grpSpPr>
        <p:pic>
          <p:nvPicPr>
            <p:cNvPr id="8" name="Afbeelding 7" descr="Afbeelding met cirkel&#10;&#10;Automatisch gegenereerde beschrijving">
              <a:extLst>
                <a:ext uri="{FF2B5EF4-FFF2-40B4-BE49-F238E27FC236}">
                  <a16:creationId xmlns:a16="http://schemas.microsoft.com/office/drawing/2014/main" id="{B2C0D3AD-D123-471F-78F5-D51AACFA34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09441" y="1426198"/>
              <a:ext cx="3924300" cy="3987800"/>
            </a:xfrm>
            <a:prstGeom prst="rect">
              <a:avLst/>
            </a:prstGeom>
          </p:spPr>
        </p:pic>
        <p:sp>
          <p:nvSpPr>
            <p:cNvPr id="54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73FDC71C-7085-1910-009E-EE2573F2B927}"/>
                </a:ext>
              </a:extLst>
            </p:cNvPr>
            <p:cNvSpPr/>
            <p:nvPr/>
          </p:nvSpPr>
          <p:spPr>
            <a:xfrm>
              <a:off x="8327018" y="539484"/>
              <a:ext cx="2257988" cy="193678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Beheren &amp; Onderhouden</a:t>
              </a:r>
            </a:p>
          </p:txBody>
        </p:sp>
        <p:sp>
          <p:nvSpPr>
            <p:cNvPr id="58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AEC618AC-6E07-9D56-8390-3552D8DB4307}"/>
                </a:ext>
              </a:extLst>
            </p:cNvPr>
            <p:cNvSpPr/>
            <p:nvPr/>
          </p:nvSpPr>
          <p:spPr>
            <a:xfrm>
              <a:off x="10303899" y="1557348"/>
              <a:ext cx="1676891" cy="197574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Secure </a:t>
              </a:r>
              <a:r>
                <a:rPr kumimoji="0" lang="nl-NL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by</a:t>
              </a: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 design</a:t>
              </a:r>
            </a:p>
          </p:txBody>
        </p:sp>
        <p:sp>
          <p:nvSpPr>
            <p:cNvPr id="31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8C1EA1AF-A9EE-8D47-1D92-9105CBFFB399}"/>
                </a:ext>
              </a:extLst>
            </p:cNvPr>
            <p:cNvSpPr/>
            <p:nvPr/>
          </p:nvSpPr>
          <p:spPr>
            <a:xfrm>
              <a:off x="3087811" y="1875842"/>
              <a:ext cx="2108287" cy="246969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8200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Ontwerpen &amp; Bouwen</a:t>
              </a:r>
            </a:p>
          </p:txBody>
        </p: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C28F3A9B-BD04-5C4A-B7ED-2FD1BB3221D5}"/>
                </a:ext>
              </a:extLst>
            </p:cNvPr>
            <p:cNvGrpSpPr/>
            <p:nvPr/>
          </p:nvGrpSpPr>
          <p:grpSpPr>
            <a:xfrm flipH="1">
              <a:off x="3094271" y="1810878"/>
              <a:ext cx="2771946" cy="364649"/>
              <a:chOff x="2617817" y="1732894"/>
              <a:chExt cx="3153686" cy="414867"/>
            </a:xfrm>
          </p:grpSpPr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5D8FDA41-AE46-7945-E87F-715404CCEA7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617817" y="1732894"/>
                <a:ext cx="514559" cy="414867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Rechte verbindingslijn 26">
                <a:extLst>
                  <a:ext uri="{FF2B5EF4-FFF2-40B4-BE49-F238E27FC236}">
                    <a16:creationId xmlns:a16="http://schemas.microsoft.com/office/drawing/2014/main" id="{EFA2D824-0ED2-BE92-3429-F9214F7B7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28200" y="1732894"/>
                <a:ext cx="2643303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ep 34">
              <a:extLst>
                <a:ext uri="{FF2B5EF4-FFF2-40B4-BE49-F238E27FC236}">
                  <a16:creationId xmlns:a16="http://schemas.microsoft.com/office/drawing/2014/main" id="{52C0616E-3DAF-9E6E-4A6A-D70141483D32}"/>
                </a:ext>
              </a:extLst>
            </p:cNvPr>
            <p:cNvGrpSpPr/>
            <p:nvPr/>
          </p:nvGrpSpPr>
          <p:grpSpPr>
            <a:xfrm>
              <a:off x="8913465" y="1836337"/>
              <a:ext cx="2531580" cy="364649"/>
              <a:chOff x="8667057" y="1662819"/>
              <a:chExt cx="2531580" cy="364649"/>
            </a:xfrm>
          </p:grpSpPr>
          <p:cxnSp>
            <p:nvCxnSpPr>
              <p:cNvPr id="36" name="Rechte verbindingslijn 35">
                <a:extLst>
                  <a:ext uri="{FF2B5EF4-FFF2-40B4-BE49-F238E27FC236}">
                    <a16:creationId xmlns:a16="http://schemas.microsoft.com/office/drawing/2014/main" id="{B34366CC-3ADE-30D9-1C4F-934C5F09E0F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667057" y="1662819"/>
                <a:ext cx="452274" cy="364649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Rechte verbindingslijn 36">
                <a:extLst>
                  <a:ext uri="{FF2B5EF4-FFF2-40B4-BE49-F238E27FC236}">
                    <a16:creationId xmlns:a16="http://schemas.microsoft.com/office/drawing/2014/main" id="{34C43B6E-30CF-CC69-7FD3-D30E49ACC1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16064" y="1662819"/>
                <a:ext cx="2082573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ep 37">
              <a:extLst>
                <a:ext uri="{FF2B5EF4-FFF2-40B4-BE49-F238E27FC236}">
                  <a16:creationId xmlns:a16="http://schemas.microsoft.com/office/drawing/2014/main" id="{E2E78B20-19FD-148B-FA38-9578F65E9A46}"/>
                </a:ext>
              </a:extLst>
            </p:cNvPr>
            <p:cNvGrpSpPr/>
            <p:nvPr/>
          </p:nvGrpSpPr>
          <p:grpSpPr>
            <a:xfrm>
              <a:off x="7399105" y="808399"/>
              <a:ext cx="2903354" cy="678980"/>
              <a:chOff x="2282475" y="1732894"/>
              <a:chExt cx="3303190" cy="772486"/>
            </a:xfrm>
          </p:grpSpPr>
          <p:cxnSp>
            <p:nvCxnSpPr>
              <p:cNvPr id="39" name="Rechte verbindingslijn 38">
                <a:extLst>
                  <a:ext uri="{FF2B5EF4-FFF2-40B4-BE49-F238E27FC236}">
                    <a16:creationId xmlns:a16="http://schemas.microsoft.com/office/drawing/2014/main" id="{F811ED18-8434-469E-ED7E-B6DDDB6F6C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28200" y="1732894"/>
                <a:ext cx="245746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Rechte verbindingslijn 39">
                <a:extLst>
                  <a:ext uri="{FF2B5EF4-FFF2-40B4-BE49-F238E27FC236}">
                    <a16:creationId xmlns:a16="http://schemas.microsoft.com/office/drawing/2014/main" id="{51163E0A-8F3D-A694-8A34-D6871D9BA23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82475" y="1732894"/>
                <a:ext cx="849901" cy="772486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2" name="2">
            <a:extLst>
              <a:ext uri="{FF2B5EF4-FFF2-40B4-BE49-F238E27FC236}">
                <a16:creationId xmlns:a16="http://schemas.microsoft.com/office/drawing/2014/main" id="{B29F9546-D3EB-EFF0-F233-BCB3CA44BFC1}"/>
              </a:ext>
            </a:extLst>
          </p:cNvPr>
          <p:cNvGrpSpPr/>
          <p:nvPr/>
        </p:nvGrpSpPr>
        <p:grpSpPr>
          <a:xfrm>
            <a:off x="3072281" y="1426198"/>
            <a:ext cx="8396098" cy="4605598"/>
            <a:chOff x="3072281" y="1426198"/>
            <a:chExt cx="8396098" cy="4605598"/>
          </a:xfrm>
        </p:grpSpPr>
        <p:sp>
          <p:nvSpPr>
            <p:cNvPr id="56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D00BEAD1-A12B-9C29-3404-A61C54048044}"/>
                </a:ext>
              </a:extLst>
            </p:cNvPr>
            <p:cNvSpPr/>
            <p:nvPr/>
          </p:nvSpPr>
          <p:spPr>
            <a:xfrm>
              <a:off x="3072281" y="3003865"/>
              <a:ext cx="2108287" cy="387314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Communicatie &amp; Samenwerken</a:t>
              </a:r>
            </a:p>
          </p:txBody>
        </p:sp>
        <p:sp>
          <p:nvSpPr>
            <p:cNvPr id="50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7499F404-C492-2FF8-9AAA-C9D2DE327226}"/>
                </a:ext>
              </a:extLst>
            </p:cNvPr>
            <p:cNvSpPr/>
            <p:nvPr/>
          </p:nvSpPr>
          <p:spPr>
            <a:xfrm>
              <a:off x="9333741" y="2635449"/>
              <a:ext cx="2134638" cy="811317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Slimme oplossingen die organisaties helpen beter, efficiënter en klantvriendelijker te opereren</a:t>
              </a:r>
            </a:p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200" b="1" i="0" u="none" strike="noStrike" kern="1200" cap="none" spc="0" normalizeH="0" baseline="0" noProof="0" dirty="0">
                <a:ln>
                  <a:noFill/>
                </a:ln>
                <a:solidFill>
                  <a:srgbClr val="186117"/>
                </a:solidFill>
                <a:effectLst/>
                <a:uLnTx/>
                <a:uFillTx/>
                <a:latin typeface="Archivo" pitchFamily="2" charset="77"/>
                <a:ea typeface="Noto Sans ExtraBold" panose="020B0502040504020204" pitchFamily="34" charset="0"/>
                <a:cs typeface="Archivo" pitchFamily="2" charset="77"/>
              </a:endParaRPr>
            </a:p>
          </p:txBody>
        </p:sp>
        <p:sp>
          <p:nvSpPr>
            <p:cNvPr id="53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3774BD13-960A-D28D-7445-5B54AC76FC64}"/>
                </a:ext>
              </a:extLst>
            </p:cNvPr>
            <p:cNvSpPr/>
            <p:nvPr/>
          </p:nvSpPr>
          <p:spPr>
            <a:xfrm>
              <a:off x="6178465" y="5573109"/>
              <a:ext cx="2386252" cy="458687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De Modern </a:t>
              </a:r>
              <a:r>
                <a:rPr kumimoji="0" lang="nl-NL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Workplace</a:t>
              </a:r>
              <a:b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</a:br>
              <a:r>
                <a:rPr kumimoji="0" lang="nl-NL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Any</a:t>
              </a: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 time, </a:t>
              </a:r>
              <a:r>
                <a:rPr kumimoji="0" lang="nl-NL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any</a:t>
              </a: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 </a:t>
              </a:r>
              <a:r>
                <a:rPr kumimoji="0" lang="nl-NL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place</a:t>
              </a: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, </a:t>
              </a:r>
              <a:r>
                <a:rPr kumimoji="0" lang="nl-NL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any</a:t>
              </a: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86117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 device</a:t>
              </a:r>
            </a:p>
          </p:txBody>
        </p:sp>
        <p:pic>
          <p:nvPicPr>
            <p:cNvPr id="6" name="Afbeelding 5" descr="Afbeelding met cirkel, Graphics, ontwerp&#10;&#10;Automatisch gegenereerde beschrijving">
              <a:extLst>
                <a:ext uri="{FF2B5EF4-FFF2-40B4-BE49-F238E27FC236}">
                  <a16:creationId xmlns:a16="http://schemas.microsoft.com/office/drawing/2014/main" id="{AAEB6668-ACE2-397F-C97B-76F72BF65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09441" y="1426198"/>
              <a:ext cx="3924300" cy="3987800"/>
            </a:xfrm>
            <a:prstGeom prst="rect">
              <a:avLst/>
            </a:prstGeom>
          </p:spPr>
        </p:pic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B1F21163-E4E0-0F55-0108-1DCCFA19D74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94271" y="3463927"/>
              <a:ext cx="2566088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Rechte verbindingslijn 9">
              <a:extLst>
                <a:ext uri="{FF2B5EF4-FFF2-40B4-BE49-F238E27FC236}">
                  <a16:creationId xmlns:a16="http://schemas.microsoft.com/office/drawing/2014/main" id="{6080505D-BE2B-D965-5619-A463276CADD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099904" y="3463927"/>
              <a:ext cx="2325714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Rechte verbindingslijn 33">
              <a:extLst>
                <a:ext uri="{FF2B5EF4-FFF2-40B4-BE49-F238E27FC236}">
                  <a16:creationId xmlns:a16="http://schemas.microsoft.com/office/drawing/2014/main" id="{B5E4DC6A-25A3-6114-5F20-52A46153F29F}"/>
                </a:ext>
              </a:extLst>
            </p:cNvPr>
            <p:cNvCxnSpPr>
              <a:cxnSpLocks/>
            </p:cNvCxnSpPr>
            <p:nvPr/>
          </p:nvCxnSpPr>
          <p:spPr>
            <a:xfrm>
              <a:off x="7371591" y="5163090"/>
              <a:ext cx="0" cy="410019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1">
            <a:extLst>
              <a:ext uri="{FF2B5EF4-FFF2-40B4-BE49-F238E27FC236}">
                <a16:creationId xmlns:a16="http://schemas.microsoft.com/office/drawing/2014/main" id="{FDAF24BF-70BD-7C4C-CA1B-68D9C306B79F}"/>
              </a:ext>
            </a:extLst>
          </p:cNvPr>
          <p:cNvGrpSpPr/>
          <p:nvPr/>
        </p:nvGrpSpPr>
        <p:grpSpPr>
          <a:xfrm>
            <a:off x="2945114" y="1426198"/>
            <a:ext cx="8523265" cy="3987799"/>
            <a:chOff x="2945114" y="1426198"/>
            <a:chExt cx="8523265" cy="3987799"/>
          </a:xfrm>
        </p:grpSpPr>
        <p:sp>
          <p:nvSpPr>
            <p:cNvPr id="51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C1673A77-F374-AA67-8824-ECDCEE539AE6}"/>
                </a:ext>
              </a:extLst>
            </p:cNvPr>
            <p:cNvSpPr/>
            <p:nvPr/>
          </p:nvSpPr>
          <p:spPr>
            <a:xfrm>
              <a:off x="8818372" y="4761847"/>
              <a:ext cx="2650007" cy="401243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61173E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Vaste &amp; Mobiele spraak en dataverbindingen </a:t>
              </a:r>
            </a:p>
          </p:txBody>
        </p:sp>
        <p:sp>
          <p:nvSpPr>
            <p:cNvPr id="32" name="Rechthoek: afgeronde hoeken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5A785E57-00C9-11D8-3C9D-08AB9473E530}"/>
                </a:ext>
              </a:extLst>
            </p:cNvPr>
            <p:cNvSpPr/>
            <p:nvPr/>
          </p:nvSpPr>
          <p:spPr>
            <a:xfrm>
              <a:off x="2945114" y="4952985"/>
              <a:ext cx="2650007" cy="182180"/>
            </a:xfrm>
            <a:prstGeom prst="round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61173E"/>
                  </a:solidFill>
                  <a:effectLst/>
                  <a:uLnTx/>
                  <a:uFillTx/>
                  <a:latin typeface="Archivo" pitchFamily="2" charset="77"/>
                  <a:ea typeface="Noto Sans ExtraBold" panose="020B0502040504020204" pitchFamily="34" charset="0"/>
                  <a:cs typeface="Archivo" pitchFamily="2" charset="77"/>
                </a:rPr>
                <a:t>Applicaties &amp; Data</a:t>
              </a:r>
            </a:p>
          </p:txBody>
        </p:sp>
        <p:pic>
          <p:nvPicPr>
            <p:cNvPr id="4" name="Afbeelding 3">
              <a:extLst>
                <a:ext uri="{FF2B5EF4-FFF2-40B4-BE49-F238E27FC236}">
                  <a16:creationId xmlns:a16="http://schemas.microsoft.com/office/drawing/2014/main" id="{F5361D1D-1DFA-3192-09E8-EAF9B9EBDC3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441" y="1426198"/>
              <a:ext cx="3924300" cy="3987799"/>
            </a:xfrm>
            <a:prstGeom prst="rect">
              <a:avLst/>
            </a:prstGeom>
          </p:spPr>
        </p:pic>
        <p:grpSp>
          <p:nvGrpSpPr>
            <p:cNvPr id="19" name="Groep 18">
              <a:extLst>
                <a:ext uri="{FF2B5EF4-FFF2-40B4-BE49-F238E27FC236}">
                  <a16:creationId xmlns:a16="http://schemas.microsoft.com/office/drawing/2014/main" id="{B2041EAA-8596-4FC9-062E-462F5602794D}"/>
                </a:ext>
              </a:extLst>
            </p:cNvPr>
            <p:cNvGrpSpPr/>
            <p:nvPr/>
          </p:nvGrpSpPr>
          <p:grpSpPr>
            <a:xfrm flipV="1">
              <a:off x="8016330" y="4474723"/>
              <a:ext cx="3428715" cy="733187"/>
              <a:chOff x="2367849" y="1732894"/>
              <a:chExt cx="3900900" cy="834158"/>
            </a:xfrm>
          </p:grpSpPr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969B450B-049C-D6FF-864A-D607F1C44BD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67849" y="1732894"/>
                <a:ext cx="764527" cy="834158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1F02F1C0-4FD5-9AF6-F5D6-CF386B20423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28199" y="1732894"/>
                <a:ext cx="3140550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ep 21">
              <a:extLst>
                <a:ext uri="{FF2B5EF4-FFF2-40B4-BE49-F238E27FC236}">
                  <a16:creationId xmlns:a16="http://schemas.microsoft.com/office/drawing/2014/main" id="{97702147-D88A-F889-CA38-B3F6FFC6BFF8}"/>
                </a:ext>
              </a:extLst>
            </p:cNvPr>
            <p:cNvGrpSpPr/>
            <p:nvPr/>
          </p:nvGrpSpPr>
          <p:grpSpPr>
            <a:xfrm flipH="1" flipV="1">
              <a:off x="2945114" y="4474722"/>
              <a:ext cx="3820202" cy="733190"/>
              <a:chOff x="1926896" y="1732894"/>
              <a:chExt cx="4346302" cy="834162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57D4708C-A3A3-5FD4-CC39-4291171742C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926896" y="1732894"/>
                <a:ext cx="1205480" cy="834162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073527B9-BDCB-C63E-CC56-87A4031CCC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28200" y="1732894"/>
                <a:ext cx="3144998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7DF82-BBC4-2DD5-BDF3-8546FFF318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err="1"/>
              <a:t>What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181690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sprit ICT">
      <a:dk1>
        <a:srgbClr val="000000"/>
      </a:dk1>
      <a:lt1>
        <a:srgbClr val="FFFFFF"/>
      </a:lt1>
      <a:dk2>
        <a:srgbClr val="FF8200"/>
      </a:dk2>
      <a:lt2>
        <a:srgbClr val="F8EAA1"/>
      </a:lt2>
      <a:accent1>
        <a:srgbClr val="61173E"/>
      </a:accent1>
      <a:accent2>
        <a:srgbClr val="E7A1F8"/>
      </a:accent2>
      <a:accent3>
        <a:srgbClr val="186117"/>
      </a:accent3>
      <a:accent4>
        <a:srgbClr val="E2F8A1"/>
      </a:accent4>
      <a:accent5>
        <a:srgbClr val="171A61"/>
      </a:accent5>
      <a:accent6>
        <a:srgbClr val="A1D3F8"/>
      </a:accent6>
      <a:hlink>
        <a:srgbClr val="D9D9D9"/>
      </a:hlink>
      <a:folHlink>
        <a:srgbClr val="CCCCCC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>
            <a:noFill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Esprit ICT">
      <a:dk1>
        <a:srgbClr val="000000"/>
      </a:dk1>
      <a:lt1>
        <a:srgbClr val="FFFFFF"/>
      </a:lt1>
      <a:dk2>
        <a:srgbClr val="FF8200"/>
      </a:dk2>
      <a:lt2>
        <a:srgbClr val="F8EAA1"/>
      </a:lt2>
      <a:accent1>
        <a:srgbClr val="61173E"/>
      </a:accent1>
      <a:accent2>
        <a:srgbClr val="E7A1F8"/>
      </a:accent2>
      <a:accent3>
        <a:srgbClr val="186117"/>
      </a:accent3>
      <a:accent4>
        <a:srgbClr val="E2F8A1"/>
      </a:accent4>
      <a:accent5>
        <a:srgbClr val="171A61"/>
      </a:accent5>
      <a:accent6>
        <a:srgbClr val="A1D3F8"/>
      </a:accent6>
      <a:hlink>
        <a:srgbClr val="D9D9D9"/>
      </a:hlink>
      <a:folHlink>
        <a:srgbClr val="CCCCCC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>
            <a:noFill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ICT-PowerPoint-Template v1.1 SSE" id="{2B6E5EC4-6999-4EB4-A1C2-D1D073B29D49}" vid="{847AFD72-9AF6-4C1F-B814-20134D8B740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54FC03A38FEC7488348E2CA9F6138FB" ma:contentTypeVersion="10" ma:contentTypeDescription="Een nieuw document maken." ma:contentTypeScope="" ma:versionID="56632c4987cbdee0febbf3ed8c701f3b">
  <xsd:schema xmlns:xsd="http://www.w3.org/2001/XMLSchema" xmlns:xs="http://www.w3.org/2001/XMLSchema" xmlns:p="http://schemas.microsoft.com/office/2006/metadata/properties" xmlns:ns2="66f0691e-9194-4269-8f70-9d43260dacd5" xmlns:ns3="9aa1f58c-84ae-4ea0-a00a-cfe3ff271211" targetNamespace="http://schemas.microsoft.com/office/2006/metadata/properties" ma:root="true" ma:fieldsID="e8a3f052daca896b92f388f1ebd763f9" ns2:_="" ns3:_="">
    <xsd:import namespace="66f0691e-9194-4269-8f70-9d43260dacd5"/>
    <xsd:import namespace="9aa1f58c-84ae-4ea0-a00a-cfe3ff2712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f0691e-9194-4269-8f70-9d43260dac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a1f58c-84ae-4ea0-a00a-cfe3ff27121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D86DDB-2A6E-4275-B30A-AE1B0B7A03AC}">
  <ds:schemaRefs>
    <ds:schemaRef ds:uri="http://purl.org/dc/dcmitype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66f0691e-9194-4269-8f70-9d43260dacd5"/>
    <ds:schemaRef ds:uri="http://purl.org/dc/elements/1.1/"/>
    <ds:schemaRef ds:uri="9aa1f58c-84ae-4ea0-a00a-cfe3ff271211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750772F-5059-40A7-8393-A0C612B5F4D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BE7EB0-21C6-4EAD-8EFD-8C81033DE4D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f0691e-9194-4269-8f70-9d43260dacd5"/>
    <ds:schemaRef ds:uri="9aa1f58c-84ae-4ea0-a00a-cfe3ff2712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</TotalTime>
  <Words>2988</Words>
  <Application>Microsoft Office PowerPoint</Application>
  <PresentationFormat>Breedbeeld</PresentationFormat>
  <Paragraphs>423</Paragraphs>
  <Slides>45</Slides>
  <Notes>23</Notes>
  <HiddenSlides>27</HiddenSlides>
  <MMClips>0</MMClips>
  <ScaleCrop>false</ScaleCrop>
  <HeadingPairs>
    <vt:vector size="8" baseType="variant">
      <vt:variant>
        <vt:lpstr>Gebruikte lettertypen</vt:lpstr>
      </vt:variant>
      <vt:variant>
        <vt:i4>10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45</vt:i4>
      </vt:variant>
    </vt:vector>
  </HeadingPairs>
  <TitlesOfParts>
    <vt:vector size="58" baseType="lpstr">
      <vt:lpstr>Aptos</vt:lpstr>
      <vt:lpstr>Archivo</vt:lpstr>
      <vt:lpstr>Archivo Light</vt:lpstr>
      <vt:lpstr>Archivo Medium</vt:lpstr>
      <vt:lpstr>Arial</vt:lpstr>
      <vt:lpstr>Bricolage Grotesque 96pt ExtraBold SemiBold</vt:lpstr>
      <vt:lpstr>Caveat</vt:lpstr>
      <vt:lpstr>Google Sans</vt:lpstr>
      <vt:lpstr>Noto Sans ExtraBold</vt:lpstr>
      <vt:lpstr>Open Sans</vt:lpstr>
      <vt:lpstr>Office Theme</vt:lpstr>
      <vt:lpstr>1_Office Theme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ynke Zijlstra</dc:creator>
  <cp:lastModifiedBy>Sander Seton</cp:lastModifiedBy>
  <cp:revision>2</cp:revision>
  <cp:lastPrinted>1601-01-01T00:00:00Z</cp:lastPrinted>
  <dcterms:created xsi:type="dcterms:W3CDTF">2024-07-22T07:41:57Z</dcterms:created>
  <dcterms:modified xsi:type="dcterms:W3CDTF">2024-10-14T14:1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4FC03A38FEC7488348E2CA9F6138FB</vt:lpwstr>
  </property>
  <property fmtid="{D5CDD505-2E9C-101B-9397-08002B2CF9AE}" pid="3" name="MSIP_Label_defa4170-0d19-0005-0004-bc88714345d2_Enabled">
    <vt:lpwstr>true</vt:lpwstr>
  </property>
  <property fmtid="{D5CDD505-2E9C-101B-9397-08002B2CF9AE}" pid="4" name="MSIP_Label_defa4170-0d19-0005-0004-bc88714345d2_SetDate">
    <vt:lpwstr>2024-10-07T13:50:41Z</vt:lpwstr>
  </property>
  <property fmtid="{D5CDD505-2E9C-101B-9397-08002B2CF9AE}" pid="5" name="MSIP_Label_defa4170-0d19-0005-0004-bc88714345d2_Method">
    <vt:lpwstr>Standard</vt:lpwstr>
  </property>
  <property fmtid="{D5CDD505-2E9C-101B-9397-08002B2CF9AE}" pid="6" name="MSIP_Label_defa4170-0d19-0005-0004-bc88714345d2_Name">
    <vt:lpwstr>defa4170-0d19-0005-0004-bc88714345d2</vt:lpwstr>
  </property>
  <property fmtid="{D5CDD505-2E9C-101B-9397-08002B2CF9AE}" pid="7" name="MSIP_Label_defa4170-0d19-0005-0004-bc88714345d2_SiteId">
    <vt:lpwstr>278154de-cb1b-44cb-bab3-8d5aac6e79c7</vt:lpwstr>
  </property>
  <property fmtid="{D5CDD505-2E9C-101B-9397-08002B2CF9AE}" pid="8" name="MSIP_Label_defa4170-0d19-0005-0004-bc88714345d2_ActionId">
    <vt:lpwstr>89bede76-4e08-4dca-83c6-27a0146f94c2</vt:lpwstr>
  </property>
  <property fmtid="{D5CDD505-2E9C-101B-9397-08002B2CF9AE}" pid="9" name="MSIP_Label_defa4170-0d19-0005-0004-bc88714345d2_ContentBits">
    <vt:lpwstr>0</vt:lpwstr>
  </property>
</Properties>
</file>